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notesSlides/notesSlide1.xml" ContentType="application/vnd.openxmlformats-officedocument.presentationml.notesSlide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ink/ink13.xml" ContentType="application/inkml+xml"/>
  <Override PartName="/ppt/ink/ink14.xml" ContentType="application/inkml+xml"/>
  <Override PartName="/ppt/ink/ink15.xml" ContentType="application/inkml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4" r:id="rId1"/>
  </p:sldMasterIdLst>
  <p:notesMasterIdLst>
    <p:notesMasterId r:id="rId17"/>
  </p:notesMasterIdLst>
  <p:sldIdLst>
    <p:sldId id="257" r:id="rId2"/>
    <p:sldId id="266" r:id="rId3"/>
    <p:sldId id="267" r:id="rId4"/>
    <p:sldId id="258" r:id="rId5"/>
    <p:sldId id="270" r:id="rId6"/>
    <p:sldId id="269" r:id="rId7"/>
    <p:sldId id="271" r:id="rId8"/>
    <p:sldId id="259" r:id="rId9"/>
    <p:sldId id="260" r:id="rId10"/>
    <p:sldId id="261" r:id="rId11"/>
    <p:sldId id="262" r:id="rId12"/>
    <p:sldId id="263" r:id="rId13"/>
    <p:sldId id="264" r:id="rId14"/>
    <p:sldId id="265" r:id="rId15"/>
    <p:sldId id="268" r:id="rId16"/>
  </p:sldIdLst>
  <p:sldSz cx="18288000" cy="10287000"/>
  <p:notesSz cx="6858000" cy="9144000"/>
  <p:embeddedFontLst>
    <p:embeddedFont>
      <p:font typeface="Calibri" panose="020F0502020204030204" pitchFamily="34" charset="0"/>
      <p:regular r:id="rId18"/>
      <p:bold r:id="rId19"/>
      <p:italic r:id="rId20"/>
      <p:boldItalic r:id="rId21"/>
    </p:embeddedFont>
    <p:embeddedFont>
      <p:font typeface="Roboto Light" panose="02000000000000000000" pitchFamily="2" charset="0"/>
      <p:regular r:id="rId22"/>
      <p:bold r:id="rId23"/>
      <p:italic r:id="rId24"/>
      <p:boldItalic r:id="rId25"/>
    </p:embeddedFont>
  </p:embeddedFontLst>
  <p:custDataLst>
    <p:tags r:id="rId26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648">
          <p15:clr>
            <a:srgbClr val="000000"/>
          </p15:clr>
        </p15:guide>
        <p15:guide id="2" pos="586">
          <p15:clr>
            <a:srgbClr val="000000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500E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ADDAF70-7EA5-DB48-9B3A-37079EDC40EA}" v="5" dt="2023-09-13T12:30:16.40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181"/>
    <p:restoredTop sz="94684"/>
  </p:normalViewPr>
  <p:slideViewPr>
    <p:cSldViewPr snapToGrid="0">
      <p:cViewPr varScale="1">
        <p:scale>
          <a:sx n="54" d="100"/>
          <a:sy n="54" d="100"/>
        </p:scale>
        <p:origin x="821" y="82"/>
      </p:cViewPr>
      <p:guideLst>
        <p:guide orient="horz" pos="648"/>
        <p:guide pos="58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1.fntdata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font" Target="fonts/font4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8.fntdata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3.fntdata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7.fnt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6.fntdata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font" Target="fonts/font2.fntdata"/><Relationship Id="rId31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5.fntdata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9-26T12:29:56.952"/>
    </inkml:context>
    <inkml:brush xml:id="br0">
      <inkml:brushProperty name="width" value="0.035" units="cm"/>
      <inkml:brushProperty name="height" value="0.035" units="cm"/>
    </inkml:brush>
  </inkml:definitions>
  <inkml:trace contextRef="#ctx0" brushRef="#br0">0 227 24575,'0'3038'0,"0"-3036"0,0 10 0,0 0 0,1 0 0,4 17 0,-5-25 0,1-1 0,0 1 0,1-1 0,-1 0 0,1 1 0,-1-1 0,1 0 0,0 0 0,0 0 0,1 0 0,-1-1 0,0 1 0,1 0 0,0-1 0,-1 0 0,5 3 0,7 1 0,0 0 0,0-1 0,0-1 0,1 0 0,-1-1 0,1 0 0,0-1 0,21-1 0,40 8 0,54 14 0,1-6 0,205 0 0,-130-19 0,230 2 0,-389 3 0,-1 2 0,79 17 0,86 42 0,-158-48 0,1-1 0,0-3 0,82 7 0,164-11 0,1918-14 0,-1432 7 0,-777-1 0,48-4 0,-53 3 0,0 0 0,0 0 0,0 0 0,0-1 0,-1 1 0,1-1 0,-1 0 0,1 0 0,-1-1 0,0 1 0,0-1 0,5-4 0,18-20 0,33-48 0,-51 64 0,-1-1 0,-1 1 0,0-1 0,0-1 0,-1 1 0,-1-1 0,6-26 0,-5 1 0,-2-1 0,-1 1 0,-6-73 0,-29-117 0,3 29 0,-22-130 0,20 144 0,13 42 0,-12-66 0,11 94 0,-8-213 0,28-122 0,3 184 0,-3-398-1365,0 621-5461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9-26T13:02:30.584"/>
    </inkml:context>
    <inkml:brush xml:id="br0">
      <inkml:brushProperty name="width" value="0.35" units="cm"/>
      <inkml:brushProperty name="height" value="2.1" units="cm"/>
      <inkml:brushProperty name="color" value="#849398"/>
      <inkml:brushProperty name="ignorePressure" value="1"/>
      <inkml:brushProperty name="inkEffects" value="pencil"/>
    </inkml:brush>
  </inkml:definitions>
  <inkml:trace contextRef="#ctx0" brushRef="#br0">8618 3099,'0'-20,"0"-13,0-15,0-13,7-16,2-8,0-4,-2 0,-2 2,-1-4,-3-1,0 8,-1 0,0 5,-1 11,1 10,0 1,-1 4,1 3,0-2,0 0,0 3,0 3,0-5,0 0,0 2,-14 9,-4-2,-6-1,-6 1,3 0,-1-6,-10 5,-4 3,-3 2,-13 7,-4-5,-4-2,-6-16,-3 2,-16 2,-26 11,-40 11,-15-3,3-2,9 3,12 8,11-6,21-6,25-3,20-9,9 4,9 8,12 4,7 0,-4 4,5 1,0-9,0 1,-2 7,-8 7,-10 7,-10 5,-1-2,4-7,-1 0,2 2,5 4,5 3,-3 3,1 3,2 0,-4 2,7-14,5-5,2 1,2 4,-8 3,-1 4,-1 3,1 1,-5 2,0 1,1 0,-4-1,1 1,1-1,-9 1,-2-1,-10 0,0 0,7 0,0 0,5 0,6 0,-2 0,4 0,2 0,5 0,-5 0,0 0,3 0,-5 0,0 0,2 7,-10 1,-2 1,4 5,-9 0,0-2,-1 3,4 0,6-3,-20 9,-11 2,-3 17,7 2,5 0,10 1,17 5,-4 1,9 14,6 2,4 3,8-2,-4-6,-3-14,5-7,8 9,2 18,-9-3,-6 21,4 4,1-7,6-10,8-4,-7-6,1-7,5 7,6 1,5 9,-3 0,2 1,1 2,3 9,2-4,-4-1,-9-7,0-9,2-2,4-4,3-4,4-6,2 4,2 0,0-1,1-3,-1 4,1 0,-1 0,1 3,-1 0,0-2,0-3,0 3,0 1,0-3,0 5,0-1,0-2,0 10,0 15,0 2,0-7,0 6,0-3,0-2,0-6,0 7,0-4,0-5,0-8,0 0,0-2,0-4,0 3,0 0,0-3,0-3,0 4,0 6,0 8,0-1,0-4,0 0,0 5,0 10,0 14,0-2,0-3,0-1,0-2,0-8,0-9,0-9,0-1,0 5,0 5,0-1,0-5,0 2,0-4,0-3,0-5,0 3,0 0,-14-2,-4 4,1 0,3-2,-3-4,2 4,-4 1,-4-3,-13-9,-7-11,-2-11,-8-9,-1-5,2-4,3-1,-11-2,-15 1,-15 1,1-1,-5 2,-6-1,7 1,12 0,7 0,9 0,9 0,7-6,-2-3,2 0,2-11,-5-3,7-5,4 4,3-2,0-3,7-9,9-7,-5-1,-5-6,3-2,6-11,-6-15,2-14,5 1,6-2,6 7,5 12,3-1,2 6,1-6,7-10,2 4,0 8,4-16,14-13,2 5,-4 11,-6 9,-1 16,11 13,0 9,-6-4,1 7,3-4,-4-8,8-2,-2 0,1 10,-5-2,-7 0,-6 1,0 7,6 4,0-7,9 3,14 2,13 6,5 1,-3 5,4-7,-2 2,-5 5,-4 6,9 6,2 5,10 3,0 2,2 1,-6 0,-6 0,-7 0,0 0,-2-1,-3 1,-10-1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9-26T13:02:32.579"/>
    </inkml:context>
    <inkml:brush xml:id="br0">
      <inkml:brushProperty name="width" value="0.35" units="cm"/>
      <inkml:brushProperty name="height" value="2.1" units="cm"/>
      <inkml:brushProperty name="color" value="#849398"/>
      <inkml:brushProperty name="ignorePressure" value="1"/>
      <inkml:brushProperty name="inkEffects" value="pencil"/>
    </inkml:brush>
  </inkml:definitions>
  <inkml:trace contextRef="#ctx0" brushRef="#br0">1271 1,'-7'0,"-9"0,-15 0,-9 0,-5 0,-1 0,-6 0,-2 0,3 0,-5 0,-5 13,-7 5,3-1,4-3,7-5,-2-3,3-2,3 4,-3 0,0 0,3 5,9 14,13 9,3 5,7 9,6 3,5-1,4-2,-11 3,-4 0,2-3,4 11,3 15,4 2,2-7,3-1,0-6,0 7,1-3,0-5,-1-8,1 2,-1-3,0-4,0 3,0 0,0-3,0-3,0 4,0-1,0 0,0 3,0 0,0-2,0-4,0 5,0-1,0-1,0 3,0 0,0-2,0-3,0 3,0 1,0-3,0-2,0 4,0-14,-7-25,-3-50,2-65,0-62,3-45,2-19,8-4,4 37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9-26T13:02:34.797"/>
    </inkml:context>
    <inkml:brush xml:id="br0">
      <inkml:brushProperty name="width" value="0.35" units="cm"/>
      <inkml:brushProperty name="height" value="2.1" units="cm"/>
      <inkml:brushProperty name="color" value="#849398"/>
      <inkml:brushProperty name="ignorePressure" value="1"/>
      <inkml:brushProperty name="inkEffects" value="pencil"/>
    </inkml:brush>
  </inkml:definitions>
  <inkml:trace contextRef="#ctx0" brushRef="#br0">794 93,'-20'20,"-27"13,-13 15,-2 6,-4 14,2-5,-9 8,9-2,15-6,16-7,6-13,-5 0,3-1,6 0,1 12,-4-2,4-4,5 4,6-1,4-2,-10-9,-2-5,15-29,10-1,2 5,1 7,-2 8,-1 20,-3 9,-1 8,-1 1,-1-3,0 7,0 1,-1-6,1 0,0-3,0-5,0 2,0-3,0-2,13-4,11 4,2-1,-3-1,-7 4,-5 0,2-2,12-10,3-5,2 4,4-4,2-1,15-1,6-5,7 6,6-4,4-6,-3-9,-8 1,7-3,-2-3,0-5,-4-2,-7-3,-5 0,1-2,5 1,7-1,-1 0,-6 1,2-1,-3 1,-4 0,-4 0,2 0,0 0,-2 0,-3 0,11 0,3 0,4 0,12-13,0-12,-7-7,-8 1,-14-8,-15-10,-13-11,-10-22,-7-17,-3-13,-1-6,-1-11,0-4,1 8,1 11,0 5,0 7,1 15,-7 15,-2 13,0 3,-11 4,-3 5,-4-4,3 1,5 1,0 10,-12 11,1 3,4-7,1 2,-3-1,-3-2,-9-9,1-3,-12-15,2-18,3-2,9 6,4 9,8 2,8 4,7 7,-2 11,-12 12,-9 12,-5 9,-3 5,-9 3,-2 2,1 1,-24-1,-20 0,6-1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9-26T13:02:35.307"/>
    </inkml:context>
    <inkml:brush xml:id="br0">
      <inkml:brushProperty name="width" value="0.35" units="cm"/>
      <inkml:brushProperty name="height" value="2.1" units="cm"/>
      <inkml:brushProperty name="color" value="#849398"/>
      <inkml:brushProperty name="ignorePressure" value="1"/>
      <inkml:brushProperty name="inkEffects" value="pencil"/>
    </inkml:brush>
  </inkml:definitions>
  <inkml:trace contextRef="#ctx0" brushRef="#br0">0 0,'21'0,"26"0,33 0,22 0,28 0,-1 0,-9 0,-19 0,-19 0,-17 0,-6 0,-6 0,8 0,0 0,-3 0,-12 0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9-26T13:02:37.902"/>
    </inkml:context>
    <inkml:brush xml:id="br0">
      <inkml:brushProperty name="width" value="0.35" units="cm"/>
      <inkml:brushProperty name="height" value="2.1" units="cm"/>
      <inkml:brushProperty name="color" value="#849398"/>
      <inkml:brushProperty name="ignorePressure" value="1"/>
      <inkml:brushProperty name="inkEffects" value="pencil"/>
    </inkml:brush>
  </inkml:definitions>
  <inkml:trace contextRef="#ctx0" brushRef="#br0">0 3493,'0'-7,"0"-21,0-41,0-29,0-24,0-26,0-7,0 2,0-20,0-1,0 9,0 26,0 16,0 15,0 7,0 6,0 12,0 1,0 7,0 10,0-11,0-7,7 5,2 9,-1 2,-1 6,-2 7,-2 5,-1-2,5 1,2 2,-1-4,5 6,1 5,11 2,1 2,4 6,-4-5,0 4,-4 1,8-1,5-3,4 6,2 7,7-7,3 3,12-1,3 3,-4 7,2 5,-4 6,-5 3,-5 2,-11-5,1-2,1 1,0 1,6 2,2 1,0 2,-2 0,5 1,-1 1,-1-1,4 0,0 1,-3-1,10 0,2 0,10 0,-1 0,-5 0,-1 0,2 0,2 0,4 0,9 0,4 0,-6 0,-10 0,-11 0,-1 0,-5 0,-4 0,-4 0,3 0,1 0,-2 0,4 0,1 0,11 0,2 0,-4 0,-6 0,1 0,5 0,5 0,4 0,4 0,-3 0,-9 0,7 0,-3 0,1 0,-4 0,-7 0,-6 0,3 0,-3 0,-2 0,4 0,-1 0,-2 0,-2 0,10 0,2 0,4 0,-1 0,-6 0,-5 0,2 0,-1 0,-4 0,5 0,-1 0,-3 0,-3 0,4 0,0 0,-8 7,-5 2,4-1,2-1,0-2,0-2,6-2,0 0,-1-1,5 0,-7 6,-4 3,-4-1,-7 12,-4 2,-5 5,6-2,-2 1,2-4,2 8,3 5,-5 4,7-5,-3-1,-1 13,-5 7,-8 7,0 0,11-10,-1-6,-4 2,-7 0,-7-1,-4-1,-5 5,-1 1,5-7,1 8,0 3,-1-2,-2 5,-1-1,-2 10,0 1,-1-5,-1-5,1 0,0-2,-1-4,1-4,0 3,0 8,0 6,0 0,0-5,0 2,0-3,7-6,2-3,-1 3,-1 5,-2 8,-2-1,-1-5,-2 1,0-9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9-26T13:02:42.217"/>
    </inkml:context>
    <inkml:brush xml:id="br0">
      <inkml:brushProperty name="width" value="0.35" units="cm"/>
      <inkml:brushProperty name="height" value="2.1" units="cm"/>
      <inkml:brushProperty name="color" value="#849398"/>
      <inkml:brushProperty name="ignorePressure" value="1"/>
      <inkml:brushProperty name="inkEffects" value="pencil"/>
    </inkml:brush>
  </inkml:definitions>
  <inkml:trace contextRef="#ctx0" brushRef="#br0">407 0,'-6'0,"-16"0,-11 0,-7 0,-17 0,16 0,20 0,21 0,24 0,15 0,7 0,3 0,6 0,1 0,-2 0,2 0,0 0,-4 0,-4 0,4 0,-8 7,-4 2,-2 7,0 0,6 4,2-1,1 10,5 6,1-3,-2 1,-9 7,-6-2,5-8,2-10,-5 0,-4-4,-7 1,-8 5,6 13,-1 7,1 2,-2 2,1 5,-4 1,3 0,-4 2,-5 1,-4-4,-5-3,-2 4,-2 0,-2-3,0 4,0 1,0-4,14-9,5-5,-2 4,-2 3,-4 1,-4 6,-3 1,-2-1,-1-3,0 5,-1 0,0 12,1 1,-1-3,1-6,0 1,0-2,0-4,0 10,0 1,0 3,0-2,0-5,0-6,0 2,0-2,0-2,0 3,0-1,0-2,0-2,0 3,0 0,0-2,-7-9,-2 2,-6-6,-1-3,-4-6,-19-2,-23-4,-8-7,1-5,-1-4,5-3,6-2,0-1,4 0,3 0,5 0,-4 0,1 1,1 0,3 0,-4 0,-1 0,1 0,-3 0,0 0,2 0,3 7,-3 1,-1 1,3-2,-5-2,1 11,9 11,-15 0,3-18,11-24,13-23,12-12,9-4,7 0,4-3,1 0,2-10,-1 0,0 4,0 6,-1 0,-1 2,0 4,0-3,0 1,0 3,0 3,0-4,0 0,0 2,0-4,0 0,7 2,1 4,1-12,-2-1,-2-5,-2 3,-2 4,0-8,-1 1,0-2,-1 3,1 6,0 6,-1-1,1 1,0 2,0 4,0-4,0 0,14 1,3-4,0 0,-3 2,-4 3,-4-3,-3-1,-2 3,-1-4,0-7,-1-7,0 2,1 5,-1 6,8-9,2 1,-1-4,-1 4,-2 11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9-26T12:29:59.288"/>
    </inkml:context>
    <inkml:brush xml:id="br0">
      <inkml:brushProperty name="width" value="0.035" units="cm"/>
      <inkml:brushProperty name="height" value="0.035" units="cm"/>
    </inkml:brush>
  </inkml:definitions>
  <inkml:trace contextRef="#ctx0" brushRef="#br0">7 0 24575,'233'0'0,"-473"0"0,384 0-1365,-90 0-5461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9-26T12:30:01.288"/>
    </inkml:context>
    <inkml:brush xml:id="br0">
      <inkml:brushProperty name="width" value="0.035" units="cm"/>
      <inkml:brushProperty name="height" value="0.035" units="cm"/>
    </inkml:brush>
  </inkml:definitions>
  <inkml:trace contextRef="#ctx0" brushRef="#br0">84 79 24575,'793'0'0,"-1445"0"0,630 0 0,0-1 0,1-1 0,-1-1 0,0-1 0,1-1 0,0-1 0,-29-11 0,49 17 0,0-1 0,-1 1 0,1-1 0,0 1 0,0-1 0,-1 1 0,1-1 0,0 0 0,0 0 0,0 1 0,0-1 0,0 0 0,0 0 0,0 0 0,0 0 0,0 0 0,0 0 0,1-1 0,-1 1 0,0 0 0,1 0 0,-1-2 0,1 2 0,1 0 0,-1 1 0,1-1 0,0 0 0,-1 0 0,1 1 0,0-1 0,-1 0 0,1 1 0,0-1 0,0 0 0,-1 1 0,1-1 0,0 1 0,0-1 0,0 1 0,0 0 0,0-1 0,0 1 0,0 0 0,2 0 0,8-3 0,1 1 0,0 1 0,19-1 0,33 7 0,1 3 0,-2 2 0,1 4 0,64 22 0,-84-18-1365,-5 3-5461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9-26T12:30:04.067"/>
    </inkml:context>
    <inkml:brush xml:id="br0">
      <inkml:brushProperty name="width" value="0.035" units="cm"/>
      <inkml:brushProperty name="height" value="0.035" units="cm"/>
    </inkml:brush>
  </inkml:definitions>
  <inkml:trace contextRef="#ctx0" brushRef="#br0">192 43 24575,'228'18'0,"-100"-5"0,-13-5 0,-453-8 0,182-11 0,130 8 0,-1-2 0,1 0 0,-44-16 0,68 20 0,1 1 0,0 0 0,0-1 0,0 1 0,0-1 0,-1 1 0,1-1 0,0 1 0,0-1 0,0 0 0,0 0 0,0 1 0,0-1 0,1 0 0,-1 0 0,0 0 0,-1-1 0,3 1 0,-1 0 0,1 0 0,0 1 0,-1-1 0,1 0 0,0 1 0,0-1 0,-1 0 0,1 1 0,0-1 0,0 1 0,0-1 0,0 1 0,0 0 0,-1-1 0,1 1 0,0 0 0,0 0 0,0 0 0,0 0 0,0-1 0,2 2 0,51-9 0,1 3 0,99 5 0,-97 0 0,-8 3 0,86 16 0,6 1 0,-117-18 0,-52-2 0,-421-2 0,748 2 0,-491 0-349,110 0-4655,77 0 4469,-48 0-1768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9-26T12:32:31.125"/>
    </inkml:context>
    <inkml:brush xml:id="br0">
      <inkml:brushProperty name="width" value="0.2" units="cm"/>
      <inkml:brushProperty name="height" value="0.2" units="cm"/>
      <inkml:brushProperty name="color" value="#E71224"/>
    </inkml:brush>
  </inkml:definitions>
  <inkml:trace contextRef="#ctx0" brushRef="#br0">762 175 24575,'43'0'0,"0"2"0,53 8 0,-80-7 0,0 1 0,-1 0 0,0 1 0,1 1 0,-2 0 0,1 1 0,-1 1 0,0 0 0,17 15 0,-6-2 0,-1 2 0,-1 0 0,-1 2 0,-2 1 0,22 32 0,-7 0 0,43 92 0,-69-131 0,-1 1 0,0-1 0,-2 1 0,0 1 0,-1-1 0,-1 1 0,-1 0 0,-1 0 0,-1 0 0,-1 0 0,0 0 0,-2 0 0,0 0 0,-2 0 0,0 0 0,-10 29 0,11-43 0,-1 0 0,1 1 0,-1-2 0,-1 1 0,1 0 0,-1-1 0,0 0 0,0 0 0,-1 0 0,0-1 0,0 0 0,0 0 0,-1 0 0,-11 6 0,-8 1 0,0 0 0,-49 14 0,38-14 0,10-4 0,-1-2 0,1 0 0,-1-2 0,-29 1 0,-115-4 0,96-2 0,-82 1 0,-196-5 0,348 5 0,0 0 0,-1-1 0,1 0 0,0 0 0,0-1 0,0 1 0,0-1 0,0-1 0,1 1 0,-1-1 0,1 0 0,-1 0 0,1 0 0,0-1 0,0 0 0,1 0 0,-1 0 0,1-1 0,0 0 0,0 1 0,0-1 0,1-1 0,0 1 0,0 0 0,0-1 0,0 0 0,1 1 0,-2-10 0,-19-56 0,4-1 0,4-1 0,2 0 0,4-1 0,2-1 0,4 1 0,4-1 0,2 1 0,4 0 0,20-93 0,-25 159 0,2-12 0,1-1 0,16-38 0,-19 54 0,0 0 0,1 0 0,0 0 0,0 0 0,0 1 0,1-1 0,0 1 0,-1 0 0,2 0 0,-1 0 0,0 1 0,1-1 0,-1 1 0,1 0 0,10-4 0,-2 2 0,0 1 0,1 1 0,-1 1 0,1 0 0,-1 0 0,19 1 0,86 8 0,-49-1 0,-29-2 0,51 12 0,0 0 0,-73-13 24,0 0 0,0 1 0,0 1 0,19 8 0,-28-9-173,0 0 1,0 1-1,-1 0 1,0 0-1,0 1 1,-1-1-1,1 2 1,-1-1-1,10 13 1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9-26T12:32:33.149"/>
    </inkml:context>
    <inkml:brush xml:id="br0">
      <inkml:brushProperty name="width" value="0.2" units="cm"/>
      <inkml:brushProperty name="height" value="0.2" units="cm"/>
      <inkml:brushProperty name="color" value="#E71224"/>
    </inkml:brush>
  </inkml:definitions>
  <inkml:trace contextRef="#ctx0" brushRef="#br0">205 167 24575,'-1'-7'0,"2"1"0,-1 0 0,1 0 0,0 0 0,0 0 0,1 0 0,-1 0 0,1 0 0,1 0 0,-1 0 0,1 1 0,0 0 0,0-1 0,1 1 0,0 0 0,-1 0 0,2 1 0,-1-1 0,0 1 0,1 0 0,0 0 0,0 1 0,0-1 0,1 1 0,-1 0 0,1 0 0,-1 1 0,9-3 0,8-1 0,1 0 0,1 1 0,-1 2 0,1 0 0,-1 2 0,25 1 0,-40 0 0,1 0 0,0 0 0,0 1 0,-1 0 0,1 1 0,-1 0 0,1 0 0,-1 1 0,0 0 0,0 1 0,0 0 0,0 0 0,-1 0 0,1 1 0,-1 0 0,0 1 0,-1-1 0,0 1 0,11 13 0,26 23 0,-33-34 0,-1 1 0,0 0 0,0 1 0,-1 0 0,0 0 0,10 18 0,-3 5-4,-3 1-1,13 48 1,-8-23-529,3 9-507,-3 1 1,-2 0-1,-4 1 1,-2 1-1,-2 94 0,-7-140 1206,0 13 1659,-6 40 0,4-65-1459,-1-1 0,0 0 0,0 0 1,-1 0-1,0 0 0,-1-1 1,-9 15-1,5-12-363,0-1 0,-1 1 0,-1-2 0,0 0 0,-1 0 0,0-1 0,0 0 0,-1-1 0,-1-1 0,0 0 0,0 0 0,-1-2 0,-19 8 0,14-8-4,0-1 1,0-1 0,-1-1-1,0 0 1,0-2 0,0 0-1,0-2 1,0 0 0,-41-7-1,55 6 1,-89-18 0,85 16 0,-1-1 0,2 0 0,-1-1 0,0 0 0,1-1 0,-14-9 0,11 5 0,0 0 0,1-1 0,0-1 0,0 0 0,-10-15 0,16 19 0,1-2 0,0 1 0,0 0 0,0-1 0,2 0 0,-1 0 0,1 0 0,0 0 0,-1-12 0,-4-89 0,7 73 0,-7-46 0,-33-108 0,22 117 0,3-1 0,4 0 0,-2-80 0,13 129 0,0 9 0,1 0 0,0 0 0,5-28 0,-4 42 0,0 0 0,0 0 0,0 0 0,0 0 0,0 0 0,1 1 0,0-1 0,0 1 0,0-1 0,0 1 0,0 0 0,1-1 0,0 1 0,-1 1 0,1-1 0,0 0 0,0 1 0,1-1 0,-1 1 0,0 0 0,7-3 0,4 0 0,0 1 0,0 1 0,1 0 0,0 1 0,26-1 0,81 6 0,-71 0 0,5-1-1365,-5 0-5461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9-26T13:01:48.927"/>
    </inkml:context>
    <inkml:brush xml:id="br0">
      <inkml:brushProperty name="width" value="0.2" units="cm"/>
      <inkml:brushProperty name="height" value="0.2" units="cm"/>
      <inkml:brushProperty name="color" value="#E71224"/>
    </inkml:brush>
  </inkml:definitions>
  <inkml:trace contextRef="#ctx0" brushRef="#br0">1 1 24575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9-26T13:01:49.845"/>
    </inkml:context>
    <inkml:brush xml:id="br0">
      <inkml:brushProperty name="width" value="0.2" units="cm"/>
      <inkml:brushProperty name="height" value="0.2" units="cm"/>
      <inkml:brushProperty name="color" value="#E71224"/>
    </inkml:brush>
  </inkml:definitions>
  <inkml:trace contextRef="#ctx0" brushRef="#br0">0 0 24575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9-26T13:02:26.007"/>
    </inkml:context>
    <inkml:brush xml:id="br0">
      <inkml:brushProperty name="width" value="0.35" units="cm"/>
      <inkml:brushProperty name="height" value="2.1" units="cm"/>
      <inkml:brushProperty name="color" value="#849398"/>
      <inkml:brushProperty name="ignorePressure" value="1"/>
      <inkml:brushProperty name="inkEffects" value="pencil"/>
    </inkml:brush>
  </inkml:definitions>
  <inkml:trace contextRef="#ctx0" brushRef="#br0">4 16,'14'0,"4"20,0 14,-4 21,-4 8,-4 14,-3 0,-2 7,0 3,-2 1,0-2,0-2,1-1,-8-2,-8-8,-2-9,2-2,4 1,4 4,4-2,1-7,3-5,0 2,1-3,0-3,-1 4,1 7,-1 12,0 2,0 8,1-3,-1-2,-1-7,1-8,0-2,0-4,0-5,0-4,0 3,0 0,0-2,0 12,0 1,0-2,0 2,0-2,0-5,0 2,0-1,0-4,0-4,0 4,0 0,0-2,0 4,14-7,11-11,21-12,4-16,-1-9,-2-5,5-1,0 1,-1 2,-4 1,4 2,-6-6,-4-1,-3 1,6-6,2-13,1-3,11 5,4-1,10-2,1 3,8-8,-3-4,-2 3,-6 1,4-7,-2-3,-8-2,-15 0,-2 8,-8-3,-12-9,-3 5,-6-11,1-3,-3-4,-4-7,-4-3,-3-4,-3-3,-2 6,0 8,-1 3,0-3,0-4,1 4,-1-8,1 2,0 7,0-7,0 2,0 6,0 1,0 4,0 5,-6-3,-3 3,0 3,-11 3,-3-4,2 0,-1 3,-4 1,2-4,-8 0,2 2,-2-11,-1-3,4-9,-6-1,3-1,7 6,1 14,4 9,0 0,-5 6,3 5,-16 6,-1 3,0 4,-8 6,-2 6,0 4,-5 4,0 1,3 0,3 2,-4-1,0 0,2-1,4 1,-5-1,-1 0,3 0,-4 0,6-7,12-2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, describe what is compressive sensing. </a:t>
            </a:r>
          </a:p>
          <a:p>
            <a:r>
              <a:rPr lang="en-US" dirty="0"/>
              <a:t>Then talk about choice of BEM and Statistic approach</a:t>
            </a:r>
          </a:p>
          <a:p>
            <a:r>
              <a:rPr lang="en-US" dirty="0"/>
              <a:t>Conclusion is the BEM is good enough at 3kHz to 10kHz, but the statistic approach match better with the compressive sensing’s concept, also it has wider application scenario</a:t>
            </a:r>
            <a:endParaRPr lang="LID4096" dirty="0"/>
          </a:p>
        </p:txBody>
      </p:sp>
    </p:spTree>
    <p:extLst>
      <p:ext uri="{BB962C8B-B14F-4D97-AF65-F5344CB8AC3E}">
        <p14:creationId xmlns:p14="http://schemas.microsoft.com/office/powerpoint/2010/main" val="37268192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1st_Slide_FULL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Google Shape;12;p2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0" y="1027450"/>
            <a:ext cx="13969941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9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Google Shape;13;p2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0" y="5165912"/>
            <a:ext cx="11310225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  <p:sp>
        <p:nvSpPr>
          <p:cNvPr id="2" name="Google Shape;18;p3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6391019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G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/>
          </p:nvPr>
        </p:nvSpPr>
        <p:spPr>
          <a:xfrm>
            <a:off x="-30955" y="6375"/>
            <a:ext cx="1227058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/>
          </p:nvPr>
        </p:nvSpPr>
        <p:spPr>
          <a:xfrm>
            <a:off x="12744450" y="4428564"/>
            <a:ext cx="4624475" cy="517263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/>
          </p:nvPr>
        </p:nvSpPr>
        <p:spPr>
          <a:xfrm>
            <a:off x="12744450" y="2263775"/>
            <a:ext cx="4624475" cy="2164788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6A16B800-55C2-CFB0-4AA2-3CBB648B98D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1660480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 hasCustomPrompt="1"/>
          </p:nvPr>
        </p:nvSpPr>
        <p:spPr>
          <a:xfrm>
            <a:off x="-30955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FB52679D-00ED-7CE2-017B-041885E86B3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314670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Z_FINAL_SLIDE" userDrawn="1">
  <p:cSld name="END_SLIDE">
    <p:bg>
      <p:bgPr>
        <a:solidFill>
          <a:schemeClr val="lt1"/>
        </a:solidFill>
        <a:effectLst/>
      </p:bgPr>
    </p:bg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A3FA9C0-522C-1ABD-D14A-7299E05376D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4423718"/>
            <a:ext cx="18288000" cy="5863281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US" dirty="0"/>
              <a:t>10</a:t>
            </a:r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CEABAFD-74D6-51C2-98C1-CCA5795CCD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0678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Google Shape;41;p7"/>
          <p:cNvSpPr txBox="1">
            <a:spLocks noGrp="1"/>
          </p:cNvSpPr>
          <p:nvPr>
            <p:ph type="title" hasCustomPrompt="1"/>
          </p:nvPr>
        </p:nvSpPr>
        <p:spPr>
          <a:xfrm>
            <a:off x="929400" y="1027449"/>
            <a:ext cx="13997562" cy="271046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9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42" name="Google Shape;42;p7"/>
          <p:cNvSpPr txBox="1">
            <a:spLocks noGrp="1"/>
          </p:cNvSpPr>
          <p:nvPr>
            <p:ph type="body" idx="1" hasCustomPrompt="1"/>
          </p:nvPr>
        </p:nvSpPr>
        <p:spPr>
          <a:xfrm>
            <a:off x="929400" y="5143500"/>
            <a:ext cx="14635650" cy="445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43" name="Google Shape;43;p7"/>
          <p:cNvSpPr>
            <a:spLocks noGrp="1"/>
          </p:cNvSpPr>
          <p:nvPr>
            <p:ph type="pic" idx="2" hasCustomPrompt="1"/>
          </p:nvPr>
        </p:nvSpPr>
        <p:spPr>
          <a:xfrm>
            <a:off x="15565050" y="1027450"/>
            <a:ext cx="1808700" cy="18087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0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223668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9966960"/>
            <a:ext cx="18288000" cy="32003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3" name="Google Shape;17;p3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4" name="Picture Placeholder 5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424406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25" name="Google Shape;17;p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6" name="Picture Placeholder 5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2661779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8</a:t>
            </a:r>
          </a:p>
        </p:txBody>
      </p:sp>
    </p:spTree>
    <p:extLst>
      <p:ext uri="{BB962C8B-B14F-4D97-AF65-F5344CB8AC3E}">
        <p14:creationId xmlns:p14="http://schemas.microsoft.com/office/powerpoint/2010/main" val="38372052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_V2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2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31000" y="2747907"/>
            <a:ext cx="4656225" cy="2047037"/>
          </a:xfr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0"/>
            <a:ext cx="36195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3" name="Google Shape;17;p3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4" name="Picture Placeholder 5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8390" y="2747906"/>
            <a:ext cx="4677648" cy="2047037"/>
          </a:xfr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25" name="Google Shape;17;p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6" name="Picture Placeholder 5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1357186" y="2747905"/>
            <a:ext cx="4644814" cy="2047037"/>
          </a:xfrm>
        </p:spPr>
        <p:txBody>
          <a:bodyPr/>
          <a:lstStyle/>
          <a:p>
            <a:r>
              <a:rPr lang="en-AU" dirty="0"/>
              <a:t>18</a:t>
            </a:r>
          </a:p>
        </p:txBody>
      </p:sp>
    </p:spTree>
    <p:extLst>
      <p:ext uri="{BB962C8B-B14F-4D97-AF65-F5344CB8AC3E}">
        <p14:creationId xmlns:p14="http://schemas.microsoft.com/office/powerpoint/2010/main" val="18319269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4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919076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6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19076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" name="Google Shape;17;p3">
            <a:extLst>
              <a:ext uri="{FF2B5EF4-FFF2-40B4-BE49-F238E27FC236}">
                <a16:creationId xmlns:a16="http://schemas.microsoft.com/office/drawing/2014/main" id="{B72C5E58-53F4-0EA6-D32E-ADEF51F174DB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5104028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548E7E5D-1895-B2EB-B13F-C15207C4095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04028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2" name="Google Shape;17;p3">
            <a:extLst>
              <a:ext uri="{FF2B5EF4-FFF2-40B4-BE49-F238E27FC236}">
                <a16:creationId xmlns:a16="http://schemas.microsoft.com/office/drawing/2014/main" id="{4EC85EFB-1D00-34F3-DEFC-3D132152607F}"/>
              </a:ext>
            </a:extLst>
          </p:cNvPr>
          <p:cNvSpPr txBox="1">
            <a:spLocks noGrp="1"/>
          </p:cNvSpPr>
          <p:nvPr>
            <p:ph type="body" idx="22" hasCustomPrompt="1"/>
          </p:nvPr>
        </p:nvSpPr>
        <p:spPr>
          <a:xfrm>
            <a:off x="9288980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2</a:t>
            </a:r>
            <a:endParaRPr dirty="0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EA08CF17-561F-6A45-B311-DF3E79243E6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288980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0</a:t>
            </a:r>
          </a:p>
        </p:txBody>
      </p:sp>
      <p:sp>
        <p:nvSpPr>
          <p:cNvPr id="21" name="Google Shape;17;p3">
            <a:extLst>
              <a:ext uri="{FF2B5EF4-FFF2-40B4-BE49-F238E27FC236}">
                <a16:creationId xmlns:a16="http://schemas.microsoft.com/office/drawing/2014/main" id="{97130B1B-4ED5-07BD-72B7-007C1D1E0682}"/>
              </a:ext>
            </a:extLst>
          </p:cNvPr>
          <p:cNvSpPr txBox="1">
            <a:spLocks noGrp="1"/>
          </p:cNvSpPr>
          <p:nvPr>
            <p:ph type="body" idx="25" hasCustomPrompt="1"/>
          </p:nvPr>
        </p:nvSpPr>
        <p:spPr>
          <a:xfrm>
            <a:off x="13473932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5</a:t>
            </a:r>
            <a:endParaRPr dirty="0"/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4D333938-660B-24CF-7672-26505437B26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3473932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3</a:t>
            </a:r>
          </a:p>
        </p:txBody>
      </p:sp>
    </p:spTree>
    <p:extLst>
      <p:ext uri="{BB962C8B-B14F-4D97-AF65-F5344CB8AC3E}">
        <p14:creationId xmlns:p14="http://schemas.microsoft.com/office/powerpoint/2010/main" val="18073469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userDrawn="1">
  <p:cSld name="BASIC_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3968341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2277035"/>
            <a:ext cx="11320550" cy="732419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FULLPAGE_IMAGE_QUOTE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 hasCustomPrompt="1"/>
          </p:nvPr>
        </p:nvSpPr>
        <p:spPr>
          <a:xfrm>
            <a:off x="0" y="6375"/>
            <a:ext cx="18287999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01EAD0F-8252-A92E-A4DF-B071AD590EF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0"/>
            <a:ext cx="18288000" cy="10293350"/>
          </a:xfrm>
          <a:solidFill>
            <a:schemeClr val="bg1">
              <a:lumMod val="75000"/>
              <a:alpha val="80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 hasCustomPrompt="1"/>
          </p:nvPr>
        </p:nvSpPr>
        <p:spPr>
          <a:xfrm>
            <a:off x="6119813" y="5869292"/>
            <a:ext cx="6093129" cy="275907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76200" lvl="0" indent="0" algn="ctr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38" name="Google Shape;38;p6"/>
          <p:cNvSpPr txBox="1">
            <a:spLocks noGrp="1"/>
          </p:cNvSpPr>
          <p:nvPr>
            <p:ph type="title" hasCustomPrompt="1"/>
          </p:nvPr>
        </p:nvSpPr>
        <p:spPr>
          <a:xfrm>
            <a:off x="2671482" y="2263775"/>
            <a:ext cx="13330518" cy="287972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000"/>
              <a:buNone/>
              <a:defRPr sz="88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EF8EFC7-DE23-07B9-50F1-01C75247A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-1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7201730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AGENDA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862458" y="0"/>
            <a:ext cx="505532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Google Shape;12;p2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1" y="2011363"/>
            <a:ext cx="8214600" cy="141763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4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6" name="Google Shape;13;p2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1" y="3747247"/>
            <a:ext cx="8214600" cy="5002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571500" lvl="0" indent="-571500" rtl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7" name="Google Shape;14;p2">
            <a:extLst>
              <a:ext uri="{FF2B5EF4-FFF2-40B4-BE49-F238E27FC236}">
                <a16:creationId xmlns:a16="http://schemas.microsoft.com/office/drawing/2014/main" id="{3097672A-5659-5B5F-6D5C-F22FA04F334D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7450"/>
            <a:ext cx="1828950" cy="18087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4FAB3CEC-34D5-F8C2-2849-CD522F40C82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862458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776094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BASIC_CONTENT_V1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4831491" y="3207472"/>
            <a:ext cx="6499897" cy="19296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4831492" y="5149875"/>
            <a:ext cx="6499896" cy="445772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/>
          </p:nvPr>
        </p:nvSpPr>
        <p:spPr>
          <a:xfrm>
            <a:off x="4831491" y="102870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3" name="Google Shape;35;p6">
            <a:extLst>
              <a:ext uri="{FF2B5EF4-FFF2-40B4-BE49-F238E27FC236}">
                <a16:creationId xmlns:a16="http://schemas.microsoft.com/office/drawing/2014/main" id="{06D4F85C-9A50-3DC0-80AA-7315DE0FAC40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12239625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38176A5C-D173-4CE5-8B87-A1D02EA54F9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0926" y="0"/>
            <a:ext cx="4094909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7D196E1-1554-1258-960F-5C778357F79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2239625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958450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TEXT" userDrawn="1">
  <p:cSld name="HEADING_LEFT_CONTENT_RIGHT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A552A79-B159-5259-79DF-C48F82B0D5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9154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Google Shape;25;p4"/>
          <p:cNvSpPr txBox="1"/>
          <p:nvPr/>
        </p:nvSpPr>
        <p:spPr>
          <a:xfrm>
            <a:off x="942500" y="9602000"/>
            <a:ext cx="8201400" cy="39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latin typeface="Roboto Light"/>
                <a:ea typeface="Roboto Light"/>
                <a:cs typeface="Roboto Light"/>
                <a:sym typeface="Roboto Light"/>
              </a:rPr>
              <a:t>Smart Slides ChatGPT Plugin</a:t>
            </a:r>
            <a:endParaRPr>
              <a:latin typeface="Roboto Light"/>
              <a:ea typeface="Roboto Light"/>
              <a:cs typeface="Roboto Light"/>
              <a:sym typeface="Roboto Light"/>
            </a:endParaRPr>
          </a:p>
        </p:txBody>
      </p:sp>
      <p:sp>
        <p:nvSpPr>
          <p:cNvPr id="26" name="Google Shape;26;p4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27" name="Google Shape;27;p4"/>
          <p:cNvSpPr txBox="1">
            <a:spLocks noGrp="1"/>
          </p:cNvSpPr>
          <p:nvPr>
            <p:ph type="body" idx="1" hasCustomPrompt="1"/>
          </p:nvPr>
        </p:nvSpPr>
        <p:spPr>
          <a:xfrm>
            <a:off x="9700325" y="2010750"/>
            <a:ext cx="5844300" cy="75912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US" dirty="0"/>
              <a:t>1</a:t>
            </a:r>
            <a:endParaRPr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384E20F-F2E2-7BD3-CA85-528A005F520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9144000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7" name="Google Shape;24;p4">
            <a:extLst>
              <a:ext uri="{FF2B5EF4-FFF2-40B4-BE49-F238E27FC236}">
                <a16:creationId xmlns:a16="http://schemas.microsoft.com/office/drawing/2014/main" id="{80117613-6917-EF6F-BF4D-A48C702D8D66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42500" y="2010750"/>
            <a:ext cx="7119600" cy="17040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US" dirty="0"/>
              <a:t>0</a:t>
            </a:r>
            <a:endParaRPr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 hasCustomPrompt="1"/>
          </p:nvPr>
        </p:nvSpPr>
        <p:spPr>
          <a:xfrm>
            <a:off x="9144000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729318"/>
            <a:ext cx="7529186" cy="587188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 hasCustomPrompt="1"/>
          </p:nvPr>
        </p:nvSpPr>
        <p:spPr>
          <a:xfrm>
            <a:off x="919163" y="2263775"/>
            <a:ext cx="7529186" cy="146554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6569A8CA-36B2-E265-E4E7-8A8DF21B36D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14400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27722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 hasCustomPrompt="1"/>
          </p:nvPr>
        </p:nvSpPr>
        <p:spPr>
          <a:xfrm>
            <a:off x="6119813" y="6375"/>
            <a:ext cx="12168187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3</a:t>
            </a:r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4410635"/>
            <a:ext cx="4624475" cy="519056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 hasCustomPrompt="1"/>
          </p:nvPr>
        </p:nvSpPr>
        <p:spPr>
          <a:xfrm>
            <a:off x="919075" y="2263775"/>
            <a:ext cx="4624475" cy="214685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119813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8993204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TOP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2239625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778781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5D679FE-3B60-23E0-8EBD-D3204877DB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040606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95" imgH="394" progId="TCLayout.ActiveDocument.1">
                  <p:embed/>
                </p:oleObj>
              </mc:Choice>
              <mc:Fallback>
                <p:oleObj name="think-cell Slide" r:id="rId18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4800"/>
              <a:buFont typeface="Calibri"/>
              <a:buNone/>
              <a:defRPr sz="4800"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919075" y="2464225"/>
            <a:ext cx="14625600" cy="707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 err="1"/>
              <a:t>asd</a:t>
            </a:r>
            <a:endParaRPr dirty="0"/>
          </a:p>
        </p:txBody>
      </p:sp>
      <p:sp>
        <p:nvSpPr>
          <p:cNvPr id="8" name="Google Shape;8;p1"/>
          <p:cNvSpPr txBox="1"/>
          <p:nvPr/>
        </p:nvSpPr>
        <p:spPr>
          <a:xfrm>
            <a:off x="942500" y="9602000"/>
            <a:ext cx="8201400" cy="39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latin typeface="Roboto Light"/>
                <a:ea typeface="Roboto Light"/>
                <a:cs typeface="Roboto Light"/>
                <a:sym typeface="Roboto Light"/>
              </a:rPr>
              <a:t>Smart Slides ChatGPT Plugin</a:t>
            </a:r>
            <a:endParaRPr>
              <a:latin typeface="Roboto Light"/>
              <a:ea typeface="Roboto Light"/>
              <a:cs typeface="Roboto Light"/>
              <a:sym typeface="Roboto Light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0231842-8603-7B8F-2A96-5D38E4699EC3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8870950" y="10116820"/>
            <a:ext cx="566738" cy="1066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LID4096" sz="7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NRESTRICTED</a:t>
            </a: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63" r:id="rId1"/>
    <p:sldLayoutId id="2147483649" r:id="rId2"/>
    <p:sldLayoutId id="2147483666" r:id="rId3"/>
    <p:sldLayoutId id="2147483662" r:id="rId4"/>
    <p:sldLayoutId id="2147483664" r:id="rId5"/>
    <p:sldLayoutId id="2147483650" r:id="rId6"/>
    <p:sldLayoutId id="2147483660" r:id="rId7"/>
    <p:sldLayoutId id="2147483657" r:id="rId8"/>
    <p:sldLayoutId id="2147483665" r:id="rId9"/>
    <p:sldLayoutId id="2147483658" r:id="rId10"/>
    <p:sldLayoutId id="2147483661" r:id="rId11"/>
    <p:sldLayoutId id="2147483653" r:id="rId12"/>
    <p:sldLayoutId id="2147483655" r:id="rId13"/>
    <p:sldLayoutId id="2147483659" r:id="rId14"/>
    <p:sldLayoutId id="2147483656" r:id="rId1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5760">
          <p15:clr>
            <a:srgbClr val="E46962"/>
          </p15:clr>
        </p15:guide>
        <p15:guide id="2" pos="579">
          <p15:clr>
            <a:srgbClr val="E46962"/>
          </p15:clr>
        </p15:guide>
        <p15:guide id="3" pos="10944">
          <p15:clr>
            <a:srgbClr val="E46962"/>
          </p15:clr>
        </p15:guide>
        <p15:guide id="4" orient="horz" pos="648">
          <p15:clr>
            <a:srgbClr val="E46962"/>
          </p15:clr>
        </p15:guide>
        <p15:guide id="5" orient="horz" pos="6048">
          <p15:clr>
            <a:srgbClr val="E46962"/>
          </p15:clr>
        </p15:guide>
        <p15:guide id="6" orient="horz" pos="3240">
          <p15:clr>
            <a:srgbClr val="E46962"/>
          </p15:clr>
        </p15:guide>
        <p15:guide id="7" orient="horz" pos="1267">
          <p15:clr>
            <a:srgbClr val="E46962"/>
          </p15:clr>
        </p15:guide>
        <p15:guide id="8" pos="9792">
          <p15:clr>
            <a:srgbClr val="E46962"/>
          </p15:clr>
        </p15:guide>
        <p15:guide id="9" pos="10080">
          <p15:clr>
            <a:srgbClr val="E46962"/>
          </p15:clr>
        </p15:guide>
        <p15:guide id="10" pos="3855" userDrawn="1">
          <p15:clr>
            <a:srgbClr val="E46962"/>
          </p15:clr>
        </p15:guide>
        <p15:guide id="11" pos="7710" userDrawn="1">
          <p15:clr>
            <a:srgbClr val="E46962"/>
          </p15:clr>
        </p15:guide>
        <p15:guide id="12" orient="horz" pos="2160" userDrawn="1">
          <p15:clr>
            <a:srgbClr val="E46962"/>
          </p15:clr>
        </p15:guide>
        <p15:guide id="13" orient="horz" pos="4310" userDrawn="1">
          <p15:clr>
            <a:srgbClr val="E46962"/>
          </p15:clr>
        </p15:guide>
        <p15:guide id="14" orient="horz" pos="142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customXml" Target="../ink/ink5.xml"/><Relationship Id="rId3" Type="http://schemas.openxmlformats.org/officeDocument/2006/relationships/image" Target="../media/image7.png"/><Relationship Id="rId7" Type="http://schemas.openxmlformats.org/officeDocument/2006/relationships/customXml" Target="../ink/ink2.xml"/><Relationship Id="rId12" Type="http://schemas.openxmlformats.org/officeDocument/2006/relationships/image" Target="../media/image11.png"/><Relationship Id="rId2" Type="http://schemas.openxmlformats.org/officeDocument/2006/relationships/image" Target="../media/image2.png"/><Relationship Id="rId16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0.png"/><Relationship Id="rId11" Type="http://schemas.openxmlformats.org/officeDocument/2006/relationships/customXml" Target="../ink/ink4.xml"/><Relationship Id="rId5" Type="http://schemas.openxmlformats.org/officeDocument/2006/relationships/customXml" Target="../ink/ink1.xml"/><Relationship Id="rId15" Type="http://schemas.openxmlformats.org/officeDocument/2006/relationships/customXml" Target="../ink/ink6.xml"/><Relationship Id="rId10" Type="http://schemas.openxmlformats.org/officeDocument/2006/relationships/image" Target="../media/image10.png"/><Relationship Id="rId4" Type="http://schemas.openxmlformats.org/officeDocument/2006/relationships/image" Target="../media/image8.png"/><Relationship Id="rId9" Type="http://schemas.openxmlformats.org/officeDocument/2006/relationships/customXml" Target="../ink/ink3.xml"/><Relationship Id="rId1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customXml" Target="../ink/ink12.xml"/><Relationship Id="rId18" Type="http://schemas.openxmlformats.org/officeDocument/2006/relationships/image" Target="../media/image21.png"/><Relationship Id="rId3" Type="http://schemas.openxmlformats.org/officeDocument/2006/relationships/image" Target="../media/image14.png"/><Relationship Id="rId21" Type="http://schemas.openxmlformats.org/officeDocument/2006/relationships/image" Target="../media/image23.png"/><Relationship Id="rId7" Type="http://schemas.openxmlformats.org/officeDocument/2006/relationships/customXml" Target="../ink/ink9.xml"/><Relationship Id="rId12" Type="http://schemas.openxmlformats.org/officeDocument/2006/relationships/image" Target="../media/image18.png"/><Relationship Id="rId17" Type="http://schemas.openxmlformats.org/officeDocument/2006/relationships/customXml" Target="../ink/ink14.xml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20.png"/><Relationship Id="rId20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6" Type="http://schemas.openxmlformats.org/officeDocument/2006/relationships/customXml" Target="../ink/ink8.xml"/><Relationship Id="rId11" Type="http://schemas.openxmlformats.org/officeDocument/2006/relationships/customXml" Target="../ink/ink11.xml"/><Relationship Id="rId5" Type="http://schemas.openxmlformats.org/officeDocument/2006/relationships/image" Target="../media/image15.png"/><Relationship Id="rId15" Type="http://schemas.openxmlformats.org/officeDocument/2006/relationships/customXml" Target="../ink/ink13.xml"/><Relationship Id="rId23" Type="http://schemas.openxmlformats.org/officeDocument/2006/relationships/image" Target="../media/image25.png"/><Relationship Id="rId10" Type="http://schemas.openxmlformats.org/officeDocument/2006/relationships/image" Target="../media/image17.png"/><Relationship Id="rId19" Type="http://schemas.openxmlformats.org/officeDocument/2006/relationships/customXml" Target="../ink/ink15.xml"/><Relationship Id="rId4" Type="http://schemas.openxmlformats.org/officeDocument/2006/relationships/customXml" Target="../ink/ink7.xml"/><Relationship Id="rId9" Type="http://schemas.openxmlformats.org/officeDocument/2006/relationships/customXml" Target="../ink/ink10.xml"/><Relationship Id="rId14" Type="http://schemas.openxmlformats.org/officeDocument/2006/relationships/image" Target="../media/image19.png"/><Relationship Id="rId22" Type="http://schemas.openxmlformats.org/officeDocument/2006/relationships/image" Target="../media/image2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BF37188-FCE6-3311-5EAE-BBB2455C046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AFC5B71-67AB-5D93-A1A4-B95EAE1FDC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mart Slid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CFA0CB6-3056-0571-6877-5914D2B2837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ke Slides in a flash</a:t>
            </a:r>
          </a:p>
        </p:txBody>
      </p:sp>
      <p:pic>
        <p:nvPicPr>
          <p:cNvPr id="6" name="Picture Placeholder 5" descr="A purple graph on a black background&#10;&#10;Description automatically generated">
            <a:extLst>
              <a:ext uri="{FF2B5EF4-FFF2-40B4-BE49-F238E27FC236}">
                <a16:creationId xmlns:a16="http://schemas.microsoft.com/office/drawing/2014/main" id="{2323F572-E851-6408-D690-6E087E728463}"/>
              </a:ext>
            </a:extLst>
          </p:cNvPr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0" b="3960"/>
          <a:stretch/>
        </p:blipFill>
        <p:spPr/>
      </p:pic>
    </p:spTree>
    <p:extLst>
      <p:ext uri="{BB962C8B-B14F-4D97-AF65-F5344CB8AC3E}">
        <p14:creationId xmlns:p14="http://schemas.microsoft.com/office/powerpoint/2010/main" val="946435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8500EA"/>
                </a:solidFill>
              </a:defRPr>
            </a:pPr>
            <a:r>
              <a:t>Dynamic Range Limita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t>Initial threshold set to a small value D0.</a:t>
            </a:r>
          </a:p>
          <a:p>
            <a:r>
              <a:t>Threshold increased during iteration by DD.</a:t>
            </a:r>
          </a:p>
          <a:p>
            <a:r>
              <a:t>Suppresses ghost sources by setting components in q below the threshold to zero.</a:t>
            </a:r>
          </a:p>
        </p:txBody>
      </p:sp>
      <p:pic>
        <p:nvPicPr>
          <p:cNvPr id="4" name="Picture Placeholder 3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8500EA"/>
                </a:solidFill>
              </a:defRPr>
            </a:pPr>
            <a:r>
              <a:t>Comparison with Convex Optimiza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t>WBH uses a source model based on a grid of monopole sources.</a:t>
            </a:r>
          </a:p>
          <a:p>
            <a:r>
              <a:t>Doesn't minimize the 1-norm of the coefficient vector for sparsity.</a:t>
            </a:r>
          </a:p>
          <a:p>
            <a:r>
              <a:t>Uses a dedicated iterative solver to promote sparsity in a different manner.</a:t>
            </a:r>
          </a:p>
        </p:txBody>
      </p:sp>
      <p:pic>
        <p:nvPicPr>
          <p:cNvPr id="4" name="Picture Placeholder 3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8500EA"/>
                </a:solidFill>
              </a:defRPr>
            </a:pPr>
            <a:r>
              <a:t>Python Implementation of WBH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t>Function WBH takes in system matrix A, measured data p, and other parameters.</a:t>
            </a:r>
          </a:p>
          <a:p>
            <a:r>
              <a:t>Computes residual, gradient, and updates q using steepest descent.</a:t>
            </a:r>
          </a:p>
          <a:p>
            <a:r>
              <a:t>Applies dynamic range limitation to suppress ghost sources.</a:t>
            </a:r>
          </a:p>
        </p:txBody>
      </p:sp>
      <p:pic>
        <p:nvPicPr>
          <p:cNvPr id="4" name="Picture Placeholder 3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8500EA"/>
                </a:solidFill>
              </a:defRPr>
            </a:pPr>
            <a:r>
              <a:t>Code Snippe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t>def WBH(A, p, max_iter=100, D0=0.1, DD=1): ...</a:t>
            </a:r>
          </a:p>
          <a:p>
            <a:r>
              <a:t>Compute residual: r = p - np.dot(A, q)</a:t>
            </a:r>
          </a:p>
          <a:p>
            <a:r>
              <a:t>Compute gradient: gradient = np.dot(A.T.conj(), r)</a:t>
            </a:r>
          </a:p>
          <a:p>
            <a:r>
              <a:t>Update q using steepest descent: q += gradient</a:t>
            </a:r>
          </a:p>
        </p:txBody>
      </p:sp>
      <p:pic>
        <p:nvPicPr>
          <p:cNvPr id="4" name="Picture Placeholder 3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solidFill>
            <a:srgbClr val="8500EA"/>
          </a:solidFill>
        </p:spPr>
        <p:txBody>
          <a:bodyPr/>
          <a:lstStyle/>
          <a:p>
            <a:endParaRPr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8500EA"/>
                </a:solidFill>
              </a:defRPr>
            </a:pPr>
            <a:r>
              <a:t>Conclus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t>WBH offers an efficient method for acoustic field reconstruction.</a:t>
            </a:r>
          </a:p>
          <a:p>
            <a:r>
              <a:t>Combines principles of holography, beamforming, and compressed sensing.</a:t>
            </a:r>
          </a:p>
          <a:p>
            <a:r>
              <a:t>Provides a full-band solution with a focus on sparsity and computational efficiency.</a:t>
            </a:r>
          </a:p>
        </p:txBody>
      </p:sp>
      <p:pic>
        <p:nvPicPr>
          <p:cNvPr id="5" name="Picture Placeholder 4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/>
          <a:stretch>
            <a:fillRect/>
          </a:stretch>
        </p:blipFill>
        <p:spPr/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8500EA"/>
                </a:solidFill>
              </a:defRPr>
            </a:pPr>
            <a:r>
              <a:t>Custom Layou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t>We use a range of layouts which you can call specifically in the chat. Here is a list ['1st_Slide_FULL_LAYOUT', 'BASIC_CONTENT', 'BASIC_CONTENT_V1', 'AGENDA', 'HEADING_LEFT_CONTENT_RIGHT', 'FULLPAGE_IMAGE_QUOTE', 'HALF_IMAGE_RIGHT', 'HALF_IMAGE_LEFT', '23RD_IMAGE_RIGHT', '23RD_IMG_LEFT', 'HALF_TOP_WITH_IMAGE_RIGHT', 'END_SLIDE']</a:t>
            </a:r>
          </a:p>
          <a:p>
            <a:r>
              <a:t>Experiment with these by telling the model to use specific layouts and try it out!</a:t>
            </a:r>
          </a:p>
          <a:p>
            <a:r>
              <a:t>Example prompt: create 2 slides using HALF_IMAGE_LEFT and 23RD_IMAGE_RIGHT about cats</a:t>
            </a:r>
          </a:p>
        </p:txBody>
      </p:sp>
      <p:pic>
        <p:nvPicPr>
          <p:cNvPr id="4" name="Picture Placeholder 3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343307C-DD09-5BCC-EBF5-52ECBE4074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1219" y="9744739"/>
            <a:ext cx="2591162" cy="34294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73DB2162-5555-F17A-6E81-6388EB4980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08206" y="3157973"/>
            <a:ext cx="7935432" cy="703043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8500EA"/>
                </a:solidFill>
              </a:defRPr>
            </a:pPr>
            <a:r>
              <a:rPr lang="en-US" dirty="0"/>
              <a:t>Azure Kinect: Depth camera Resolution</a:t>
            </a:r>
            <a:endParaRPr dirty="0"/>
          </a:p>
        </p:txBody>
      </p:sp>
      <p:pic>
        <p:nvPicPr>
          <p:cNvPr id="4" name="Picture Placeholder 3" descr="image.png"/>
          <p:cNvPicPr>
            <a:picLocks noGrp="1" noChangeAspect="1"/>
          </p:cNvPicPr>
          <p:nvPr>
            <p:ph type="pic" idx="2"/>
          </p:nvPr>
        </p:nvPicPr>
        <p:blipFill>
          <a:blip r:embed="rId4"/>
          <a:srcRect t="3969" b="3969"/>
          <a:stretch>
            <a:fillRect/>
          </a:stretch>
        </p:blipFill>
        <p:spPr/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8DF0789-76E9-A291-331E-D009CA170C9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14437951" y="3145178"/>
            <a:ext cx="14225887" cy="5966213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F8B95DB-077E-E0DE-A161-94DC812CC222}"/>
              </a:ext>
            </a:extLst>
          </p:cNvPr>
          <p:cNvSpPr/>
          <p:nvPr/>
        </p:nvSpPr>
        <p:spPr>
          <a:xfrm>
            <a:off x="-14113258" y="7773910"/>
            <a:ext cx="10207143" cy="545911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F5197F36-9634-3689-B831-C8F5C6ED1940}"/>
              </a:ext>
            </a:extLst>
          </p:cNvPr>
          <p:cNvSpPr/>
          <p:nvPr/>
        </p:nvSpPr>
        <p:spPr>
          <a:xfrm>
            <a:off x="-5640590" y="7773910"/>
            <a:ext cx="879676" cy="545911"/>
          </a:xfrm>
          <a:prstGeom prst="ellipse">
            <a:avLst/>
          </a:prstGeom>
          <a:noFill/>
          <a:ln w="38100">
            <a:solidFill>
              <a:srgbClr val="00B0F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C4B242E5-DC55-6AF6-9449-6AFDDEB0E7C6}"/>
              </a:ext>
            </a:extLst>
          </p:cNvPr>
          <p:cNvSpPr/>
          <p:nvPr/>
        </p:nvSpPr>
        <p:spPr>
          <a:xfrm>
            <a:off x="-6745854" y="7773910"/>
            <a:ext cx="408329" cy="545911"/>
          </a:xfrm>
          <a:prstGeom prst="ellipse">
            <a:avLst/>
          </a:prstGeom>
          <a:noFill/>
          <a:ln w="38100">
            <a:solidFill>
              <a:srgbClr val="00B0F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BC6DDEA-A216-997F-B265-6A65A74805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00872" y="1861478"/>
            <a:ext cx="10328898" cy="8326925"/>
          </a:xfrm>
        </p:spPr>
        <p:txBody>
          <a:bodyPr>
            <a:normAutofit fontScale="92500" lnSpcReduction="20000"/>
          </a:bodyPr>
          <a:lstStyle/>
          <a:p>
            <a:r>
              <a:rPr lang="en-US" dirty="0"/>
              <a:t>The maximum spatial resolution is 1024 x 1024 in WFOV </a:t>
            </a:r>
            <a:r>
              <a:rPr lang="en-US" dirty="0" err="1"/>
              <a:t>unbinned</a:t>
            </a:r>
            <a:r>
              <a:rPr lang="en-US" dirty="0"/>
              <a:t> mode</a:t>
            </a:r>
          </a:p>
          <a:p>
            <a:endParaRPr lang="en-US" dirty="0"/>
          </a:p>
          <a:p>
            <a:r>
              <a:rPr lang="en-US" dirty="0"/>
              <a:t>The theoretical resolution (distance of two points) is </a:t>
            </a:r>
            <a:r>
              <a:rPr lang="en-US" b="1" dirty="0"/>
              <a:t>0.8mm – 1.6 mm, </a:t>
            </a:r>
            <a:r>
              <a:rPr lang="en-US" dirty="0"/>
              <a:t>when scan from </a:t>
            </a:r>
            <a:r>
              <a:rPr lang="en-US" b="1" dirty="0"/>
              <a:t>0.25m – 0.5m</a:t>
            </a:r>
          </a:p>
          <a:p>
            <a:endParaRPr lang="en-US" b="1" dirty="0"/>
          </a:p>
          <a:p>
            <a:r>
              <a:rPr lang="en-US" dirty="0"/>
              <a:t>Real resolution is around </a:t>
            </a:r>
            <a:r>
              <a:rPr lang="en-US" b="1" u="sng" dirty="0"/>
              <a:t>3mm</a:t>
            </a:r>
            <a:r>
              <a:rPr lang="en-US" dirty="0"/>
              <a:t>, due to ICP registration = smallest reconstruct-able feature is </a:t>
            </a:r>
            <a:r>
              <a:rPr lang="en-US" b="1" u="sng" dirty="0"/>
              <a:t>9-12mm</a:t>
            </a:r>
            <a:r>
              <a:rPr lang="en-US" dirty="0"/>
              <a:t>  (nose, mouth)</a:t>
            </a:r>
          </a:p>
          <a:p>
            <a:endParaRPr lang="en-US" dirty="0"/>
          </a:p>
          <a:p>
            <a:r>
              <a:rPr lang="en-US" dirty="0"/>
              <a:t>On the highest resolution mode, the frame rate is 15fps, but it can only be 1-2fps, due to the laptop performance.</a:t>
            </a:r>
          </a:p>
          <a:p>
            <a:endParaRPr lang="en-US" dirty="0"/>
          </a:p>
          <a:p>
            <a:r>
              <a:rPr lang="en-US" dirty="0"/>
              <a:t>The resolution might be improved by manual combine multiple scans, instead of ICP registration</a:t>
            </a:r>
          </a:p>
          <a:p>
            <a:endParaRPr lang="en-US" dirty="0"/>
          </a:p>
          <a:p>
            <a:r>
              <a:rPr lang="en-US" dirty="0"/>
              <a:t>However, from Azure Kinect Viewer, the official software for visually operate Kinect, the point cloud resolution are much higher. It’s open source, but cannot output point cloud.</a:t>
            </a:r>
          </a:p>
          <a:p>
            <a:endParaRPr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35C433B-A133-5FB5-8EF6-57FE471FE10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410215" y="483679"/>
            <a:ext cx="4134427" cy="4258269"/>
          </a:xfrm>
          <a:prstGeom prst="rect">
            <a:avLst/>
          </a:prstGeom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6D29C7AC-08BB-4986-5E4B-D6F202434E76}"/>
              </a:ext>
            </a:extLst>
          </p:cNvPr>
          <p:cNvCxnSpPr/>
          <p:nvPr/>
        </p:nvCxnSpPr>
        <p:spPr>
          <a:xfrm>
            <a:off x="13844572" y="4428261"/>
            <a:ext cx="3265715" cy="0"/>
          </a:xfrm>
          <a:prstGeom prst="straightConnector1">
            <a:avLst/>
          </a:prstGeom>
          <a:ln w="381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1770B093-3075-10CD-2C80-193F0D8A92EF}"/>
              </a:ext>
            </a:extLst>
          </p:cNvPr>
          <p:cNvSpPr txBox="1"/>
          <p:nvPr/>
        </p:nvSpPr>
        <p:spPr>
          <a:xfrm>
            <a:off x="14488756" y="4437056"/>
            <a:ext cx="25690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100mm, 30 points</a:t>
            </a:r>
            <a:endParaRPr lang="LID4096" sz="2000" dirty="0"/>
          </a:p>
        </p:txBody>
      </p: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C271811A-6539-28DC-77F2-61ED865705EF}"/>
              </a:ext>
            </a:extLst>
          </p:cNvPr>
          <p:cNvCxnSpPr>
            <a:cxnSpLocks/>
            <a:stCxn id="5" idx="3"/>
            <a:endCxn id="17" idx="3"/>
          </p:cNvCxnSpPr>
          <p:nvPr/>
        </p:nvCxnSpPr>
        <p:spPr>
          <a:xfrm flipH="1">
            <a:off x="16843638" y="2612814"/>
            <a:ext cx="701004" cy="4060375"/>
          </a:xfrm>
          <a:prstGeom prst="bentConnector3">
            <a:avLst>
              <a:gd name="adj1" fmla="val -3261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A2333302-5FF5-C752-E67A-8FB2D03F5864}"/>
              </a:ext>
            </a:extLst>
          </p:cNvPr>
          <p:cNvSpPr txBox="1"/>
          <p:nvPr/>
        </p:nvSpPr>
        <p:spPr>
          <a:xfrm>
            <a:off x="16961691" y="6681983"/>
            <a:ext cx="116589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Mesh</a:t>
            </a:r>
            <a:endParaRPr lang="LID4096" sz="2000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8500EA"/>
                </a:solidFill>
              </a:defRPr>
            </a:pPr>
            <a:r>
              <a:rPr lang="en-US" dirty="0"/>
              <a:t>Delay And Sum: Traditional Beamforming</a:t>
            </a:r>
            <a:endParaRPr dirty="0"/>
          </a:p>
        </p:txBody>
      </p:sp>
      <p:pic>
        <p:nvPicPr>
          <p:cNvPr id="4" name="Picture Placeholder 3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385D582-90D1-0314-604D-D51D550BD1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1000" y="1868365"/>
            <a:ext cx="10184675" cy="794151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C4CFFA86-3F37-CE83-19FB-0C4370A37D1A}"/>
              </a:ext>
            </a:extLst>
          </p:cNvPr>
          <p:cNvSpPr/>
          <p:nvPr/>
        </p:nvSpPr>
        <p:spPr>
          <a:xfrm>
            <a:off x="8972550" y="2514600"/>
            <a:ext cx="1100138" cy="2200275"/>
          </a:xfrm>
          <a:prstGeom prst="rect">
            <a:avLst/>
          </a:pr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F100EFDB-CC7C-2581-E998-1BCBB95B68C9}"/>
              </a:ext>
            </a:extLst>
          </p:cNvPr>
          <p:cNvCxnSpPr/>
          <p:nvPr/>
        </p:nvCxnSpPr>
        <p:spPr>
          <a:xfrm>
            <a:off x="10117588" y="3021150"/>
            <a:ext cx="1585913" cy="0"/>
          </a:xfrm>
          <a:prstGeom prst="straightConnector1">
            <a:avLst/>
          </a:prstGeom>
          <a:ln w="571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F6E2BD00-61BA-4A44-08D5-43543D7972C8}"/>
              </a:ext>
            </a:extLst>
          </p:cNvPr>
          <p:cNvSpPr txBox="1"/>
          <p:nvPr/>
        </p:nvSpPr>
        <p:spPr>
          <a:xfrm>
            <a:off x="11703501" y="2821095"/>
            <a:ext cx="32640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Sufficient Detectable Angle</a:t>
            </a:r>
            <a:endParaRPr lang="LID4096" sz="200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D84F6BC-CBA0-A507-5428-EA1BEA5B6E55}"/>
              </a:ext>
            </a:extLst>
          </p:cNvPr>
          <p:cNvSpPr/>
          <p:nvPr/>
        </p:nvSpPr>
        <p:spPr>
          <a:xfrm>
            <a:off x="8343900" y="5014913"/>
            <a:ext cx="2357437" cy="723464"/>
          </a:xfrm>
          <a:prstGeom prst="rect">
            <a:avLst/>
          </a:pr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/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E19B2AD5-EDD5-C72A-00FB-FF04B77BBB23}"/>
              </a:ext>
            </a:extLst>
          </p:cNvPr>
          <p:cNvCxnSpPr/>
          <p:nvPr/>
        </p:nvCxnSpPr>
        <p:spPr>
          <a:xfrm>
            <a:off x="10701337" y="5014913"/>
            <a:ext cx="1585913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B3488AE2-84B0-7112-96CB-6D7ED2989195}"/>
              </a:ext>
            </a:extLst>
          </p:cNvPr>
          <p:cNvSpPr txBox="1"/>
          <p:nvPr/>
        </p:nvSpPr>
        <p:spPr>
          <a:xfrm>
            <a:off x="12287250" y="4814858"/>
            <a:ext cx="312896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increasing sidelobes number = narrower Detectable angle</a:t>
            </a:r>
            <a:endParaRPr lang="LID4096" sz="20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7F1D315-D40C-4CE0-C30A-3EAE540F84C4}"/>
              </a:ext>
            </a:extLst>
          </p:cNvPr>
          <p:cNvSpPr/>
          <p:nvPr/>
        </p:nvSpPr>
        <p:spPr>
          <a:xfrm>
            <a:off x="3236777" y="2514600"/>
            <a:ext cx="1100138" cy="2200275"/>
          </a:xfrm>
          <a:prstGeom prst="rect">
            <a:avLst/>
          </a:pr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59D55D5-E315-401E-6F75-560861CEB15F}"/>
              </a:ext>
            </a:extLst>
          </p:cNvPr>
          <p:cNvSpPr txBox="1"/>
          <p:nvPr/>
        </p:nvSpPr>
        <p:spPr>
          <a:xfrm>
            <a:off x="11801475" y="3528981"/>
            <a:ext cx="361473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Less elements, Same Detectable Angle, But lower resolution</a:t>
            </a:r>
            <a:endParaRPr lang="LID4096" sz="2000" dirty="0"/>
          </a:p>
        </p:txBody>
      </p: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B5F01BBC-2204-5BDF-0E1E-20FDD36E71D1}"/>
              </a:ext>
            </a:extLst>
          </p:cNvPr>
          <p:cNvCxnSpPr>
            <a:cxnSpLocks/>
            <a:stCxn id="16" idx="0"/>
            <a:endCxn id="18" idx="1"/>
          </p:cNvCxnSpPr>
          <p:nvPr/>
        </p:nvCxnSpPr>
        <p:spPr>
          <a:xfrm rot="16200000" flipH="1">
            <a:off x="7033053" y="-731608"/>
            <a:ext cx="1522213" cy="8014629"/>
          </a:xfrm>
          <a:prstGeom prst="bentConnector4">
            <a:avLst>
              <a:gd name="adj1" fmla="val -15018"/>
              <a:gd name="adj2" fmla="val 53432"/>
            </a:avLst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29">
            <a:extLst>
              <a:ext uri="{FF2B5EF4-FFF2-40B4-BE49-F238E27FC236}">
                <a16:creationId xmlns:a16="http://schemas.microsoft.com/office/drawing/2014/main" id="{2792BCF2-987D-8F3E-767B-B3E85870696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01337" y="6208646"/>
            <a:ext cx="7668280" cy="3383064"/>
          </a:xfrm>
          <a:prstGeom prst="rect">
            <a:avLst/>
          </a:prstGeom>
        </p:spPr>
      </p:pic>
      <p:cxnSp>
        <p:nvCxnSpPr>
          <p:cNvPr id="1024" name="Straight Connector 1023">
            <a:extLst>
              <a:ext uri="{FF2B5EF4-FFF2-40B4-BE49-F238E27FC236}">
                <a16:creationId xmlns:a16="http://schemas.microsoft.com/office/drawing/2014/main" id="{4DCE559C-B0AF-76E1-AC27-9E69019925D1}"/>
              </a:ext>
            </a:extLst>
          </p:cNvPr>
          <p:cNvCxnSpPr>
            <a:cxnSpLocks/>
          </p:cNvCxnSpPr>
          <p:nvPr/>
        </p:nvCxnSpPr>
        <p:spPr>
          <a:xfrm>
            <a:off x="15216188" y="6872288"/>
            <a:ext cx="1240674" cy="1728787"/>
          </a:xfrm>
          <a:prstGeom prst="line">
            <a:avLst/>
          </a:prstGeom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8" name="TextBox 1027">
            <a:extLst>
              <a:ext uri="{FF2B5EF4-FFF2-40B4-BE49-F238E27FC236}">
                <a16:creationId xmlns:a16="http://schemas.microsoft.com/office/drawing/2014/main" id="{E1965845-0730-9BB7-EA63-2EC343290664}"/>
              </a:ext>
            </a:extLst>
          </p:cNvPr>
          <p:cNvSpPr txBox="1"/>
          <p:nvPr/>
        </p:nvSpPr>
        <p:spPr>
          <a:xfrm>
            <a:off x="14078277" y="6012402"/>
            <a:ext cx="420972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0B050"/>
                </a:solidFill>
                <a:effectLst/>
                <a:latin typeface="Arial" panose="020B0604020202020204" pitchFamily="34" charset="0"/>
              </a:rPr>
              <a:t>Grating Lobes</a:t>
            </a:r>
            <a:r>
              <a:rPr lang="en-US" sz="2000" b="1" dirty="0"/>
              <a:t>: </a:t>
            </a:r>
          </a:p>
          <a:p>
            <a:r>
              <a:rPr lang="en-US" sz="2000" b="1" dirty="0"/>
              <a:t>Delay </a:t>
            </a:r>
            <a:r>
              <a:rPr lang="en-US" sz="2000" b="1" dirty="0" err="1"/>
              <a:t>Syncolizated</a:t>
            </a:r>
            <a:r>
              <a:rPr lang="en-US" sz="2000" b="1" dirty="0"/>
              <a:t> peak</a:t>
            </a:r>
            <a:endParaRPr lang="LID4096" sz="2000" b="1" dirty="0"/>
          </a:p>
        </p:txBody>
      </p:sp>
      <p:sp>
        <p:nvSpPr>
          <p:cNvPr id="1031" name="TextBox 1030">
            <a:extLst>
              <a:ext uri="{FF2B5EF4-FFF2-40B4-BE49-F238E27FC236}">
                <a16:creationId xmlns:a16="http://schemas.microsoft.com/office/drawing/2014/main" id="{011B3EC4-B945-9E6B-CD75-5CDEF7F4435A}"/>
              </a:ext>
            </a:extLst>
          </p:cNvPr>
          <p:cNvSpPr txBox="1"/>
          <p:nvPr/>
        </p:nvSpPr>
        <p:spPr>
          <a:xfrm>
            <a:off x="11128283" y="331996"/>
            <a:ext cx="470824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Q: If I specially apply a window to the mic output efficiency, will that equivalent to applying a different window (instead of rectangular window) to it? E.g., the mic at the edge of the array output is less than the middle one.</a:t>
            </a:r>
          </a:p>
          <a:p>
            <a:endParaRPr lang="en-US" b="1" dirty="0"/>
          </a:p>
          <a:p>
            <a:r>
              <a:rPr lang="en-US" b="1" dirty="0"/>
              <a:t>A: The density of mic distribution spatially are playing that role</a:t>
            </a:r>
            <a:endParaRPr lang="LID4096" b="1" dirty="0"/>
          </a:p>
        </p:txBody>
      </p:sp>
      <p:sp>
        <p:nvSpPr>
          <p:cNvPr id="1032" name="TextBox 1031">
            <a:extLst>
              <a:ext uri="{FF2B5EF4-FFF2-40B4-BE49-F238E27FC236}">
                <a16:creationId xmlns:a16="http://schemas.microsoft.com/office/drawing/2014/main" id="{845CE8A6-1D38-7DEE-B1F0-F2447766F74B}"/>
              </a:ext>
            </a:extLst>
          </p:cNvPr>
          <p:cNvSpPr txBox="1"/>
          <p:nvPr/>
        </p:nvSpPr>
        <p:spPr>
          <a:xfrm>
            <a:off x="15210764" y="2464131"/>
            <a:ext cx="3158853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i="1" u="sng" dirty="0">
                <a:solidFill>
                  <a:srgbClr val="FFC000"/>
                </a:solidFill>
              </a:rPr>
              <a:t>Higher aperture with narrower elements arrangements =&gt; Higher resolution and Wider detectable angle, respectively.</a:t>
            </a:r>
            <a:endParaRPr lang="LID4096" sz="2800" b="1" i="1" u="sng" dirty="0">
              <a:solidFill>
                <a:srgbClr val="FFC000"/>
              </a:solidFill>
            </a:endParaRPr>
          </a:p>
        </p:txBody>
      </p:sp>
      <p:grpSp>
        <p:nvGrpSpPr>
          <p:cNvPr id="1043" name="Group 1042">
            <a:extLst>
              <a:ext uri="{FF2B5EF4-FFF2-40B4-BE49-F238E27FC236}">
                <a16:creationId xmlns:a16="http://schemas.microsoft.com/office/drawing/2014/main" id="{3AC890BD-5A2D-FCD6-D8B4-FA3988FCF512}"/>
              </a:ext>
            </a:extLst>
          </p:cNvPr>
          <p:cNvGrpSpPr/>
          <p:nvPr/>
        </p:nvGrpSpPr>
        <p:grpSpPr>
          <a:xfrm>
            <a:off x="14975077" y="7918672"/>
            <a:ext cx="2298240" cy="1313280"/>
            <a:chOff x="14975077" y="7918672"/>
            <a:chExt cx="2298240" cy="13132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5">
              <p14:nvContentPartPr>
                <p14:cNvPr id="1038" name="Ink 1037">
                  <a:extLst>
                    <a:ext uri="{FF2B5EF4-FFF2-40B4-BE49-F238E27FC236}">
                      <a16:creationId xmlns:a16="http://schemas.microsoft.com/office/drawing/2014/main" id="{570D9085-BEE9-F43F-AA5A-DD6D3B0E8422}"/>
                    </a:ext>
                  </a:extLst>
                </p14:cNvPr>
                <p14:cNvContentPartPr/>
                <p14:nvPr/>
              </p14:nvContentPartPr>
              <p14:xfrm>
                <a:off x="15087397" y="7918672"/>
                <a:ext cx="2089080" cy="1313280"/>
              </p14:xfrm>
            </p:contentPart>
          </mc:Choice>
          <mc:Fallback xmlns="">
            <p:pic>
              <p:nvPicPr>
                <p:cNvPr id="1038" name="Ink 1037">
                  <a:extLst>
                    <a:ext uri="{FF2B5EF4-FFF2-40B4-BE49-F238E27FC236}">
                      <a16:creationId xmlns:a16="http://schemas.microsoft.com/office/drawing/2014/main" id="{570D9085-BEE9-F43F-AA5A-DD6D3B0E8422}"/>
                    </a:ext>
                  </a:extLst>
                </p:cNvPr>
                <p:cNvPicPr/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15081277" y="7912552"/>
                  <a:ext cx="2101320" cy="1325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">
              <p14:nvContentPartPr>
                <p14:cNvPr id="1039" name="Ink 1038">
                  <a:extLst>
                    <a:ext uri="{FF2B5EF4-FFF2-40B4-BE49-F238E27FC236}">
                      <a16:creationId xmlns:a16="http://schemas.microsoft.com/office/drawing/2014/main" id="{A58F37B3-04E1-C1C7-B3D9-E5D61148415D}"/>
                    </a:ext>
                  </a:extLst>
                </p14:cNvPr>
                <p14:cNvContentPartPr/>
                <p14:nvPr/>
              </p14:nvContentPartPr>
              <p14:xfrm>
                <a:off x="15070837" y="8029552"/>
                <a:ext cx="86760" cy="360"/>
              </p14:xfrm>
            </p:contentPart>
          </mc:Choice>
          <mc:Fallback xmlns="">
            <p:pic>
              <p:nvPicPr>
                <p:cNvPr id="1039" name="Ink 1038">
                  <a:extLst>
                    <a:ext uri="{FF2B5EF4-FFF2-40B4-BE49-F238E27FC236}">
                      <a16:creationId xmlns:a16="http://schemas.microsoft.com/office/drawing/2014/main" id="{A58F37B3-04E1-C1C7-B3D9-E5D61148415D}"/>
                    </a:ext>
                  </a:extLst>
                </p:cNvPr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15064717" y="8023432"/>
                  <a:ext cx="99000" cy="12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">
              <p14:nvContentPartPr>
                <p14:cNvPr id="1041" name="Ink 1040">
                  <a:extLst>
                    <a:ext uri="{FF2B5EF4-FFF2-40B4-BE49-F238E27FC236}">
                      <a16:creationId xmlns:a16="http://schemas.microsoft.com/office/drawing/2014/main" id="{95643964-C70F-CB76-1482-8F4218E864DC}"/>
                    </a:ext>
                  </a:extLst>
                </p14:cNvPr>
                <p14:cNvContentPartPr/>
                <p14:nvPr/>
              </p14:nvContentPartPr>
              <p14:xfrm>
                <a:off x="16957597" y="8057992"/>
                <a:ext cx="315720" cy="40680"/>
              </p14:xfrm>
            </p:contentPart>
          </mc:Choice>
          <mc:Fallback xmlns="">
            <p:pic>
              <p:nvPicPr>
                <p:cNvPr id="1041" name="Ink 1040">
                  <a:extLst>
                    <a:ext uri="{FF2B5EF4-FFF2-40B4-BE49-F238E27FC236}">
                      <a16:creationId xmlns:a16="http://schemas.microsoft.com/office/drawing/2014/main" id="{95643964-C70F-CB76-1482-8F4218E864DC}"/>
                    </a:ext>
                  </a:extLst>
                </p:cNvPr>
                <p:cNvPicPr/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16951477" y="8051872"/>
                  <a:ext cx="327960" cy="52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">
              <p14:nvContentPartPr>
                <p14:cNvPr id="1042" name="Ink 1041">
                  <a:extLst>
                    <a:ext uri="{FF2B5EF4-FFF2-40B4-BE49-F238E27FC236}">
                      <a16:creationId xmlns:a16="http://schemas.microsoft.com/office/drawing/2014/main" id="{881E6E8A-EE67-7869-F81C-B67B0E85E8D1}"/>
                    </a:ext>
                  </a:extLst>
                </p14:cNvPr>
                <p14:cNvContentPartPr/>
                <p14:nvPr/>
              </p14:nvContentPartPr>
              <p14:xfrm>
                <a:off x="14975077" y="8028112"/>
                <a:ext cx="248760" cy="29880"/>
              </p14:xfrm>
            </p:contentPart>
          </mc:Choice>
          <mc:Fallback xmlns="">
            <p:pic>
              <p:nvPicPr>
                <p:cNvPr id="1042" name="Ink 1041">
                  <a:extLst>
                    <a:ext uri="{FF2B5EF4-FFF2-40B4-BE49-F238E27FC236}">
                      <a16:creationId xmlns:a16="http://schemas.microsoft.com/office/drawing/2014/main" id="{881E6E8A-EE67-7869-F81C-B67B0E85E8D1}"/>
                    </a:ext>
                  </a:extLst>
                </p:cNvPr>
                <p:cNvPicPr/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14968957" y="8021992"/>
                  <a:ext cx="261000" cy="42120"/>
                </a:xfrm>
                <a:prstGeom prst="rect">
                  <a:avLst/>
                </a:prstGeom>
              </p:spPr>
            </p:pic>
          </mc:Fallback>
        </mc:AlternateContent>
      </p:grpSp>
      <p:sp>
        <p:nvSpPr>
          <p:cNvPr id="1044" name="TextBox 1043">
            <a:extLst>
              <a:ext uri="{FF2B5EF4-FFF2-40B4-BE49-F238E27FC236}">
                <a16:creationId xmlns:a16="http://schemas.microsoft.com/office/drawing/2014/main" id="{7B7D2277-B859-2829-4F91-FD3D1BE523C0}"/>
              </a:ext>
            </a:extLst>
          </p:cNvPr>
          <p:cNvSpPr txBox="1"/>
          <p:nvPr/>
        </p:nvSpPr>
        <p:spPr>
          <a:xfrm>
            <a:off x="14294315" y="9192963"/>
            <a:ext cx="367524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0B050"/>
                </a:solidFill>
              </a:rPr>
              <a:t>Side lobes</a:t>
            </a:r>
          </a:p>
          <a:p>
            <a:r>
              <a:rPr lang="en-US" sz="1600" b="1" dirty="0"/>
              <a:t>comes from the delay </a:t>
            </a:r>
            <a:r>
              <a:rPr lang="en-US" sz="1600" b="1" dirty="0" err="1"/>
              <a:t>Syncolizated</a:t>
            </a:r>
            <a:r>
              <a:rPr lang="en-US" sz="1600" b="1" dirty="0"/>
              <a:t> peak of some but not all mics</a:t>
            </a:r>
            <a:endParaRPr lang="LID4096" sz="1600" b="1" dirty="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13">
            <p14:nvContentPartPr>
              <p14:cNvPr id="1048" name="Ink 1047">
                <a:extLst>
                  <a:ext uri="{FF2B5EF4-FFF2-40B4-BE49-F238E27FC236}">
                    <a16:creationId xmlns:a16="http://schemas.microsoft.com/office/drawing/2014/main" id="{1DC93D7D-D93A-3CD3-7C7C-C88A9629A059}"/>
                  </a:ext>
                </a:extLst>
              </p14:cNvPr>
              <p14:cNvContentPartPr/>
              <p14:nvPr/>
            </p14:nvContentPartPr>
            <p14:xfrm>
              <a:off x="14827477" y="7851712"/>
              <a:ext cx="515520" cy="437040"/>
            </p14:xfrm>
          </p:contentPart>
        </mc:Choice>
        <mc:Fallback xmlns="">
          <p:pic>
            <p:nvPicPr>
              <p:cNvPr id="1048" name="Ink 1047">
                <a:extLst>
                  <a:ext uri="{FF2B5EF4-FFF2-40B4-BE49-F238E27FC236}">
                    <a16:creationId xmlns:a16="http://schemas.microsoft.com/office/drawing/2014/main" id="{1DC93D7D-D93A-3CD3-7C7C-C88A9629A059}"/>
                  </a:ext>
                </a:extLst>
              </p:cNvPr>
              <p:cNvPicPr/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14791477" y="7815712"/>
                <a:ext cx="587160" cy="5086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5">
            <p14:nvContentPartPr>
              <p14:cNvPr id="1049" name="Ink 1048">
                <a:extLst>
                  <a:ext uri="{FF2B5EF4-FFF2-40B4-BE49-F238E27FC236}">
                    <a16:creationId xmlns:a16="http://schemas.microsoft.com/office/drawing/2014/main" id="{B379266F-09ED-743F-E235-55C4A7C97AD6}"/>
                  </a:ext>
                </a:extLst>
              </p14:cNvPr>
              <p14:cNvContentPartPr/>
              <p14:nvPr/>
            </p14:nvContentPartPr>
            <p14:xfrm>
              <a:off x="16957237" y="7826512"/>
              <a:ext cx="332280" cy="490680"/>
            </p14:xfrm>
          </p:contentPart>
        </mc:Choice>
        <mc:Fallback xmlns="">
          <p:pic>
            <p:nvPicPr>
              <p:cNvPr id="1049" name="Ink 1048">
                <a:extLst>
                  <a:ext uri="{FF2B5EF4-FFF2-40B4-BE49-F238E27FC236}">
                    <a16:creationId xmlns:a16="http://schemas.microsoft.com/office/drawing/2014/main" id="{B379266F-09ED-743F-E235-55C4A7C97AD6}"/>
                  </a:ext>
                </a:extLst>
              </p:cNvPr>
              <p:cNvPicPr/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16921597" y="7790872"/>
                <a:ext cx="403920" cy="562320"/>
              </a:xfrm>
              <a:prstGeom prst="rect">
                <a:avLst/>
              </a:prstGeom>
            </p:spPr>
          </p:pic>
        </mc:Fallback>
      </mc:AlternateContent>
      <p:sp>
        <p:nvSpPr>
          <p:cNvPr id="3" name="Rectangle 2">
            <a:extLst>
              <a:ext uri="{FF2B5EF4-FFF2-40B4-BE49-F238E27FC236}">
                <a16:creationId xmlns:a16="http://schemas.microsoft.com/office/drawing/2014/main" id="{7B996A34-C959-5395-89F0-E824907F220E}"/>
              </a:ext>
            </a:extLst>
          </p:cNvPr>
          <p:cNvSpPr/>
          <p:nvPr/>
        </p:nvSpPr>
        <p:spPr>
          <a:xfrm>
            <a:off x="2714016" y="6250188"/>
            <a:ext cx="2033081" cy="461897"/>
          </a:xfrm>
          <a:prstGeom prst="rect">
            <a:avLst/>
          </a:prstGeom>
          <a:noFill/>
          <a:ln w="571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F9FD9592-0A85-554B-7669-83941D0F4976}"/>
              </a:ext>
            </a:extLst>
          </p:cNvPr>
          <p:cNvCxnSpPr>
            <a:cxnSpLocks/>
            <a:stCxn id="3" idx="1"/>
          </p:cNvCxnSpPr>
          <p:nvPr/>
        </p:nvCxnSpPr>
        <p:spPr>
          <a:xfrm flipH="1" flipV="1">
            <a:off x="1714500" y="4371975"/>
            <a:ext cx="999516" cy="210916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F546F3CE-5070-8A54-9D43-8CD57112EEA4}"/>
              </a:ext>
            </a:extLst>
          </p:cNvPr>
          <p:cNvSpPr txBox="1"/>
          <p:nvPr/>
        </p:nvSpPr>
        <p:spPr>
          <a:xfrm>
            <a:off x="511468" y="3764070"/>
            <a:ext cx="168232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Compressive Sensing</a:t>
            </a:r>
            <a:endParaRPr lang="LID4096" sz="2000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508E416-24CE-C873-FCC1-EC71EB75FB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3208" y="1827619"/>
            <a:ext cx="5210902" cy="845938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8500EA"/>
                </a:solidFill>
              </a:defRPr>
            </a:pPr>
            <a:r>
              <a:rPr lang="en-US" dirty="0"/>
              <a:t>Compressive Sensing: First half, ACQUISITION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994110" y="2491347"/>
            <a:ext cx="11320550" cy="5495185"/>
          </a:xfrm>
        </p:spPr>
        <p:txBody>
          <a:bodyPr>
            <a:normAutofit fontScale="85000" lnSpcReduction="20000"/>
          </a:bodyPr>
          <a:lstStyle/>
          <a:p>
            <a:r>
              <a:rPr lang="en-US" dirty="0"/>
              <a:t>Sparse Matrix: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source location under space, Subject</a:t>
            </a:r>
          </a:p>
          <a:p>
            <a:r>
              <a:rPr lang="en-US" dirty="0"/>
              <a:t>Dictionary, D: </a:t>
            </a:r>
          </a:p>
          <a:p>
            <a:pPr lvl="1"/>
            <a:r>
              <a:rPr lang="en-US" dirty="0"/>
              <a:t>HATS surface scattering</a:t>
            </a:r>
          </a:p>
          <a:p>
            <a:pPr lvl="1"/>
            <a:r>
              <a:rPr lang="en-US" dirty="0"/>
              <a:t>Free field Green’s function ( radiation of sound )</a:t>
            </a:r>
          </a:p>
          <a:p>
            <a:pPr lvl="1"/>
            <a:r>
              <a:rPr lang="en-US" dirty="0"/>
              <a:t>Surface interaction ( radiate and scatter )</a:t>
            </a:r>
          </a:p>
          <a:p>
            <a:pPr lvl="1"/>
            <a:r>
              <a:rPr lang="en-US" dirty="0"/>
              <a:t>Noise.</a:t>
            </a:r>
          </a:p>
          <a:p>
            <a:pPr lvl="1"/>
            <a:r>
              <a:rPr lang="en-US" dirty="0"/>
              <a:t>Radiation of structure – mode</a:t>
            </a:r>
          </a:p>
          <a:p>
            <a:pPr lvl="1"/>
            <a:endParaRPr lang="en-US" dirty="0"/>
          </a:p>
          <a:p>
            <a:pPr lvl="1"/>
            <a:r>
              <a:rPr lang="en-US" b="1" dirty="0"/>
              <a:t>BEM – sufficient? -------- wavelength [0.1m/3kHz]; [0.03m/10kHz]</a:t>
            </a:r>
          </a:p>
          <a:p>
            <a:pPr lvl="1"/>
            <a:r>
              <a:rPr lang="en-US" b="1" dirty="0"/>
              <a:t>Or statistic approach.  -------- mode density: 0.4/1kHz at 3kHz. But increasing rapidly, also depend on which region.</a:t>
            </a:r>
          </a:p>
          <a:p>
            <a:pPr lvl="1"/>
            <a:endParaRPr lang="en-US" dirty="0"/>
          </a:p>
          <a:p>
            <a:pPr marL="5334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3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Roboto Light"/>
              </a:rPr>
              <a:t>All above contribution to the sound field, and recorded in few points on Mic array</a:t>
            </a:r>
          </a:p>
          <a:p>
            <a:pPr marL="5334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marL="5334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One benefit gain by 3d scanner, the actual geometry scanning allows a more accurate approximation of dictionary D, ?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11" name="Ink 10">
                <a:extLst>
                  <a:ext uri="{FF2B5EF4-FFF2-40B4-BE49-F238E27FC236}">
                    <a16:creationId xmlns:a16="http://schemas.microsoft.com/office/drawing/2014/main" id="{51A42A03-181F-2A52-469F-72B2BD4EA85C}"/>
                  </a:ext>
                </a:extLst>
              </p14:cNvPr>
              <p14:cNvContentPartPr/>
              <p14:nvPr/>
            </p14:nvContentPartPr>
            <p14:xfrm>
              <a:off x="4299997" y="3456832"/>
              <a:ext cx="360" cy="360"/>
            </p14:xfrm>
          </p:contentPart>
        </mc:Choice>
        <mc:Fallback xmlns="">
          <p:pic>
            <p:nvPicPr>
              <p:cNvPr id="11" name="Ink 10">
                <a:extLst>
                  <a:ext uri="{FF2B5EF4-FFF2-40B4-BE49-F238E27FC236}">
                    <a16:creationId xmlns:a16="http://schemas.microsoft.com/office/drawing/2014/main" id="{51A42A03-181F-2A52-469F-72B2BD4EA85C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264357" y="3421192"/>
                <a:ext cx="72000" cy="72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12" name="Ink 11">
                <a:extLst>
                  <a:ext uri="{FF2B5EF4-FFF2-40B4-BE49-F238E27FC236}">
                    <a16:creationId xmlns:a16="http://schemas.microsoft.com/office/drawing/2014/main" id="{84D3D5F5-3ADD-B097-EECE-E33E6E6ABA2E}"/>
                  </a:ext>
                </a:extLst>
              </p14:cNvPr>
              <p14:cNvContentPartPr/>
              <p14:nvPr/>
            </p14:nvContentPartPr>
            <p14:xfrm>
              <a:off x="4228717" y="4242712"/>
              <a:ext cx="360" cy="360"/>
            </p14:xfrm>
          </p:contentPart>
        </mc:Choice>
        <mc:Fallback xmlns="">
          <p:pic>
            <p:nvPicPr>
              <p:cNvPr id="12" name="Ink 11">
                <a:extLst>
                  <a:ext uri="{FF2B5EF4-FFF2-40B4-BE49-F238E27FC236}">
                    <a16:creationId xmlns:a16="http://schemas.microsoft.com/office/drawing/2014/main" id="{84D3D5F5-3ADD-B097-EECE-E33E6E6ABA2E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192717" y="4206712"/>
                <a:ext cx="72000" cy="72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 xmlns:aink="http://schemas.microsoft.com/office/drawing/2016/ink">
        <mc:Choice Requires="p14 aink">
          <p:contentPart p14:bwMode="auto" r:id="rId7">
            <p14:nvContentPartPr>
              <p14:cNvPr id="14" name="Ink 13">
                <a:extLst>
                  <a:ext uri="{FF2B5EF4-FFF2-40B4-BE49-F238E27FC236}">
                    <a16:creationId xmlns:a16="http://schemas.microsoft.com/office/drawing/2014/main" id="{A1B6B640-C2E9-AA66-48DF-616A5ED8FE70}"/>
                  </a:ext>
                </a:extLst>
              </p14:cNvPr>
              <p14:cNvContentPartPr/>
              <p14:nvPr/>
            </p14:nvContentPartPr>
            <p14:xfrm>
              <a:off x="4398637" y="3208432"/>
              <a:ext cx="646200" cy="1247760"/>
            </p14:xfrm>
          </p:contentPart>
        </mc:Choice>
        <mc:Fallback xmlns="">
          <p:pic>
            <p:nvPicPr>
              <p:cNvPr id="14" name="Ink 13">
                <a:extLst>
                  <a:ext uri="{FF2B5EF4-FFF2-40B4-BE49-F238E27FC236}">
                    <a16:creationId xmlns:a16="http://schemas.microsoft.com/office/drawing/2014/main" id="{A1B6B640-C2E9-AA66-48DF-616A5ED8FE70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4335997" y="2830432"/>
                <a:ext cx="771840" cy="2003400"/>
              </a:xfrm>
              <a:prstGeom prst="rect">
                <a:avLst/>
              </a:prstGeom>
            </p:spPr>
          </p:pic>
        </mc:Fallback>
      </mc:AlternateContent>
      <p:grpSp>
        <p:nvGrpSpPr>
          <p:cNvPr id="21" name="Group 20">
            <a:extLst>
              <a:ext uri="{FF2B5EF4-FFF2-40B4-BE49-F238E27FC236}">
                <a16:creationId xmlns:a16="http://schemas.microsoft.com/office/drawing/2014/main" id="{6A73FA2F-DEF1-FDC7-E46F-A278A462B3D7}"/>
              </a:ext>
            </a:extLst>
          </p:cNvPr>
          <p:cNvGrpSpPr/>
          <p:nvPr/>
        </p:nvGrpSpPr>
        <p:grpSpPr>
          <a:xfrm>
            <a:off x="1397677" y="2084152"/>
            <a:ext cx="3118320" cy="2448720"/>
            <a:chOff x="1397677" y="2084152"/>
            <a:chExt cx="3118320" cy="2448720"/>
          </a:xfrm>
        </p:grpSpPr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9">
              <p14:nvContentPartPr>
                <p14:cNvPr id="15" name="Ink 14">
                  <a:extLst>
                    <a:ext uri="{FF2B5EF4-FFF2-40B4-BE49-F238E27FC236}">
                      <a16:creationId xmlns:a16="http://schemas.microsoft.com/office/drawing/2014/main" id="{000D2190-0238-F52F-2EFB-43C9CAFE24FF}"/>
                    </a:ext>
                  </a:extLst>
                </p14:cNvPr>
                <p14:cNvContentPartPr/>
                <p14:nvPr/>
              </p14:nvContentPartPr>
              <p14:xfrm>
                <a:off x="1397677" y="2084152"/>
                <a:ext cx="3118320" cy="2448720"/>
              </p14:xfrm>
            </p:contentPart>
          </mc:Choice>
          <mc:Fallback xmlns="">
            <p:pic>
              <p:nvPicPr>
                <p:cNvPr id="15" name="Ink 14">
                  <a:extLst>
                    <a:ext uri="{FF2B5EF4-FFF2-40B4-BE49-F238E27FC236}">
                      <a16:creationId xmlns:a16="http://schemas.microsoft.com/office/drawing/2014/main" id="{000D2190-0238-F52F-2EFB-43C9CAFE24FF}"/>
                    </a:ext>
                  </a:extLst>
                </p:cNvPr>
                <p:cNvPicPr/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1334677" y="1706152"/>
                  <a:ext cx="3243960" cy="3204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11">
              <p14:nvContentPartPr>
                <p14:cNvPr id="16" name="Ink 15">
                  <a:extLst>
                    <a:ext uri="{FF2B5EF4-FFF2-40B4-BE49-F238E27FC236}">
                      <a16:creationId xmlns:a16="http://schemas.microsoft.com/office/drawing/2014/main" id="{BF955FFE-EDAE-0E25-007C-70947FA69E33}"/>
                    </a:ext>
                  </a:extLst>
                </p14:cNvPr>
                <p14:cNvContentPartPr/>
                <p14:nvPr/>
              </p14:nvContentPartPr>
              <p14:xfrm>
                <a:off x="1585597" y="3414352"/>
                <a:ext cx="457920" cy="949320"/>
              </p14:xfrm>
            </p:contentPart>
          </mc:Choice>
          <mc:Fallback xmlns="">
            <p:pic>
              <p:nvPicPr>
                <p:cNvPr id="16" name="Ink 15">
                  <a:extLst>
                    <a:ext uri="{FF2B5EF4-FFF2-40B4-BE49-F238E27FC236}">
                      <a16:creationId xmlns:a16="http://schemas.microsoft.com/office/drawing/2014/main" id="{BF955FFE-EDAE-0E25-007C-70947FA69E33}"/>
                    </a:ext>
                  </a:extLst>
                </p:cNvPr>
                <p:cNvPicPr/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1522597" y="3036712"/>
                  <a:ext cx="583560" cy="1704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13">
              <p14:nvContentPartPr>
                <p14:cNvPr id="17" name="Ink 16">
                  <a:extLst>
                    <a:ext uri="{FF2B5EF4-FFF2-40B4-BE49-F238E27FC236}">
                      <a16:creationId xmlns:a16="http://schemas.microsoft.com/office/drawing/2014/main" id="{C8EEAA36-4006-45BD-A6C5-8D5084336A59}"/>
                    </a:ext>
                  </a:extLst>
                </p14:cNvPr>
                <p14:cNvContentPartPr/>
                <p14:nvPr/>
              </p14:nvContentPartPr>
              <p14:xfrm>
                <a:off x="1414237" y="3466912"/>
                <a:ext cx="876960" cy="1020240"/>
              </p14:xfrm>
            </p:contentPart>
          </mc:Choice>
          <mc:Fallback xmlns="">
            <p:pic>
              <p:nvPicPr>
                <p:cNvPr id="17" name="Ink 16">
                  <a:extLst>
                    <a:ext uri="{FF2B5EF4-FFF2-40B4-BE49-F238E27FC236}">
                      <a16:creationId xmlns:a16="http://schemas.microsoft.com/office/drawing/2014/main" id="{C8EEAA36-4006-45BD-A6C5-8D5084336A59}"/>
                    </a:ext>
                  </a:extLst>
                </p:cNvPr>
                <p:cNvPicPr/>
                <p:nvPr/>
              </p:nvPicPr>
              <p:blipFill>
                <a:blip r:embed="rId14"/>
                <a:stretch>
                  <a:fillRect/>
                </a:stretch>
              </p:blipFill>
              <p:spPr>
                <a:xfrm>
                  <a:off x="1351237" y="3089272"/>
                  <a:ext cx="1002600" cy="1775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15">
              <p14:nvContentPartPr>
                <p14:cNvPr id="18" name="Ink 17">
                  <a:extLst>
                    <a:ext uri="{FF2B5EF4-FFF2-40B4-BE49-F238E27FC236}">
                      <a16:creationId xmlns:a16="http://schemas.microsoft.com/office/drawing/2014/main" id="{C5F8C18C-DA4D-930E-DD58-B17CFF00BED5}"/>
                    </a:ext>
                  </a:extLst>
                </p14:cNvPr>
                <p14:cNvContentPartPr/>
                <p14:nvPr/>
              </p14:nvContentPartPr>
              <p14:xfrm>
                <a:off x="1656877" y="3471232"/>
                <a:ext cx="437760" cy="360"/>
              </p14:xfrm>
            </p:contentPart>
          </mc:Choice>
          <mc:Fallback xmlns="">
            <p:pic>
              <p:nvPicPr>
                <p:cNvPr id="18" name="Ink 17">
                  <a:extLst>
                    <a:ext uri="{FF2B5EF4-FFF2-40B4-BE49-F238E27FC236}">
                      <a16:creationId xmlns:a16="http://schemas.microsoft.com/office/drawing/2014/main" id="{C5F8C18C-DA4D-930E-DD58-B17CFF00BED5}"/>
                    </a:ext>
                  </a:extLst>
                </p:cNvPr>
                <p:cNvPicPr/>
                <p:nvPr/>
              </p:nvPicPr>
              <p:blipFill>
                <a:blip r:embed="rId16"/>
                <a:stretch>
                  <a:fillRect/>
                </a:stretch>
              </p:blipFill>
              <p:spPr>
                <a:xfrm>
                  <a:off x="1593877" y="3093232"/>
                  <a:ext cx="563400" cy="75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17">
              <p14:nvContentPartPr>
                <p14:cNvPr id="19" name="Ink 18">
                  <a:extLst>
                    <a:ext uri="{FF2B5EF4-FFF2-40B4-BE49-F238E27FC236}">
                      <a16:creationId xmlns:a16="http://schemas.microsoft.com/office/drawing/2014/main" id="{78367DC4-2DBC-3AE2-01F6-0CA6C18FC291}"/>
                    </a:ext>
                  </a:extLst>
                </p14:cNvPr>
                <p14:cNvContentPartPr/>
                <p14:nvPr/>
              </p14:nvContentPartPr>
              <p14:xfrm>
                <a:off x="2142877" y="2213752"/>
                <a:ext cx="2343960" cy="1257840"/>
              </p14:xfrm>
            </p:contentPart>
          </mc:Choice>
          <mc:Fallback xmlns="">
            <p:pic>
              <p:nvPicPr>
                <p:cNvPr id="19" name="Ink 18">
                  <a:extLst>
                    <a:ext uri="{FF2B5EF4-FFF2-40B4-BE49-F238E27FC236}">
                      <a16:creationId xmlns:a16="http://schemas.microsoft.com/office/drawing/2014/main" id="{78367DC4-2DBC-3AE2-01F6-0CA6C18FC291}"/>
                    </a:ext>
                  </a:extLst>
                </p:cNvPr>
                <p:cNvPicPr/>
                <p:nvPr/>
              </p:nvPicPr>
              <p:blipFill>
                <a:blip r:embed="rId18"/>
                <a:stretch>
                  <a:fillRect/>
                </a:stretch>
              </p:blipFill>
              <p:spPr>
                <a:xfrm>
                  <a:off x="2079877" y="1835752"/>
                  <a:ext cx="2469600" cy="201348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 xmlns:p14="http://schemas.microsoft.com/office/powerpoint/2010/main" xmlns:aink="http://schemas.microsoft.com/office/drawing/2016/ink">
        <mc:Choice Requires="p14 aink">
          <p:contentPart p14:bwMode="auto" r:id="rId19">
            <p14:nvContentPartPr>
              <p14:cNvPr id="20" name="Ink 19">
                <a:extLst>
                  <a:ext uri="{FF2B5EF4-FFF2-40B4-BE49-F238E27FC236}">
                    <a16:creationId xmlns:a16="http://schemas.microsoft.com/office/drawing/2014/main" id="{C1E7471F-7ACD-5788-9593-FD30D87B2E7A}"/>
                  </a:ext>
                </a:extLst>
              </p14:cNvPr>
              <p14:cNvContentPartPr/>
              <p14:nvPr/>
            </p14:nvContentPartPr>
            <p14:xfrm>
              <a:off x="4339237" y="3199792"/>
              <a:ext cx="648360" cy="1227600"/>
            </p14:xfrm>
          </p:contentPart>
        </mc:Choice>
        <mc:Fallback xmlns="">
          <p:pic>
            <p:nvPicPr>
              <p:cNvPr id="20" name="Ink 19">
                <a:extLst>
                  <a:ext uri="{FF2B5EF4-FFF2-40B4-BE49-F238E27FC236}">
                    <a16:creationId xmlns:a16="http://schemas.microsoft.com/office/drawing/2014/main" id="{C1E7471F-7ACD-5788-9593-FD30D87B2E7A}"/>
                  </a:ext>
                </a:extLst>
              </p:cNvPr>
              <p:cNvPicPr/>
              <p:nvPr/>
            </p:nvPicPr>
            <p:blipFill>
              <a:blip r:embed="rId20"/>
              <a:stretch>
                <a:fillRect/>
              </a:stretch>
            </p:blipFill>
            <p:spPr>
              <a:xfrm>
                <a:off x="4276597" y="2821792"/>
                <a:ext cx="774000" cy="1983240"/>
              </a:xfrm>
              <a:prstGeom prst="rect">
                <a:avLst/>
              </a:prstGeom>
            </p:spPr>
          </p:pic>
        </mc:Fallback>
      </mc:AlternateContent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C324EC98-3694-4892-CF81-F71A72B0D6EC}"/>
              </a:ext>
            </a:extLst>
          </p:cNvPr>
          <p:cNvCxnSpPr>
            <a:cxnSpLocks/>
            <a:endCxn id="24" idx="1"/>
          </p:cNvCxnSpPr>
          <p:nvPr/>
        </p:nvCxnSpPr>
        <p:spPr>
          <a:xfrm>
            <a:off x="4228717" y="4228312"/>
            <a:ext cx="2555324" cy="481658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E7B42C22-9944-1BA5-EE24-59BD5D50354E}"/>
              </a:ext>
            </a:extLst>
          </p:cNvPr>
          <p:cNvSpPr txBox="1"/>
          <p:nvPr/>
        </p:nvSpPr>
        <p:spPr>
          <a:xfrm>
            <a:off x="6784041" y="8229284"/>
            <a:ext cx="811530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00B050"/>
                </a:solidFill>
              </a:rPr>
              <a:t>There might only two point are leaking sound, but that two points are generating the entire sound field through multiple pathways.</a:t>
            </a:r>
          </a:p>
          <a:p>
            <a:endParaRPr lang="en-US" sz="2000" b="1" u="sng" dirty="0">
              <a:solidFill>
                <a:srgbClr val="00B050"/>
              </a:solidFill>
            </a:endParaRPr>
          </a:p>
          <a:p>
            <a:r>
              <a:rPr lang="en-US" sz="2000" b="1" u="sng" dirty="0">
                <a:solidFill>
                  <a:srgbClr val="00B050"/>
                </a:solidFill>
              </a:rPr>
              <a:t>By compressive Sensing, we can decrease the dimension to real solution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0E43F521-8910-11EF-2669-DF31FED2CFFC}"/>
              </a:ext>
            </a:extLst>
          </p:cNvPr>
          <p:cNvSpPr/>
          <p:nvPr/>
        </p:nvSpPr>
        <p:spPr>
          <a:xfrm>
            <a:off x="12659441" y="81023"/>
            <a:ext cx="5443364" cy="2410324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01EA2991-0F42-D572-E7ED-F250110D3FE6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12675063" y="3546025"/>
            <a:ext cx="5198442" cy="535134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74B7BF48-B346-430E-F799-9895F1138391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12481820" y="2962618"/>
            <a:ext cx="2762636" cy="628738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A4530374-C1DE-95C6-C9A0-888883987EA5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12928093" y="228763"/>
            <a:ext cx="4906060" cy="2114845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F0804183-A9E0-8CE0-5FC2-668C5C1837FE}"/>
              </a:ext>
            </a:extLst>
          </p:cNvPr>
          <p:cNvSpPr txBox="1"/>
          <p:nvPr/>
        </p:nvSpPr>
        <p:spPr>
          <a:xfrm>
            <a:off x="13699688" y="2226554"/>
            <a:ext cx="41344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One dimensional operation. Actual 2/3 dimension.</a:t>
            </a:r>
            <a:endParaRPr lang="LID4096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2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8500EA"/>
                </a:solidFill>
              </a:defRPr>
            </a:pPr>
            <a:r>
              <a:rPr lang="en-US" dirty="0"/>
              <a:t>Compressive Sensing: Second half, Reconstruction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73927" y="4728377"/>
            <a:ext cx="11320550" cy="4787098"/>
          </a:xfrm>
        </p:spPr>
        <p:txBody>
          <a:bodyPr>
            <a:normAutofit lnSpcReduction="10000"/>
          </a:bodyPr>
          <a:lstStyle/>
          <a:p>
            <a:r>
              <a:rPr lang="en-US" dirty="0"/>
              <a:t>Convex  optimization, CVX </a:t>
            </a:r>
            <a:r>
              <a:rPr lang="en-US" sz="2400" dirty="0"/>
              <a:t>--- L1/L2 norm approximation</a:t>
            </a:r>
          </a:p>
          <a:p>
            <a:pPr lvl="1"/>
            <a:r>
              <a:rPr lang="en-US" dirty="0"/>
              <a:t>Tikhonov regularization (L2 minimize) – ESM, equivalent source method. L2 minimize tend to give an average source distribution (equivalent source) </a:t>
            </a:r>
          </a:p>
          <a:p>
            <a:pPr lvl="1"/>
            <a:r>
              <a:rPr lang="en-US" dirty="0"/>
              <a:t>Lasso regularization (L1 minimize)</a:t>
            </a:r>
          </a:p>
          <a:p>
            <a:endParaRPr lang="en-US" dirty="0"/>
          </a:p>
          <a:p>
            <a:r>
              <a:rPr lang="en-US" dirty="0"/>
              <a:t>Wide band holography, WBH  </a:t>
            </a:r>
            <a:r>
              <a:rPr lang="en-US" sz="2400" dirty="0"/>
              <a:t>--- side lobe suppression</a:t>
            </a:r>
            <a:endParaRPr lang="en-US" dirty="0"/>
          </a:p>
          <a:p>
            <a:endParaRPr lang="en-US" dirty="0"/>
          </a:p>
          <a:p>
            <a:r>
              <a:rPr lang="en-US" dirty="0"/>
              <a:t>Inverse BEM</a:t>
            </a:r>
            <a:r>
              <a:rPr lang="en-US" dirty="0">
                <a:solidFill>
                  <a:srgbClr val="FF0000"/>
                </a:solidFill>
              </a:rPr>
              <a:t>?</a:t>
            </a:r>
          </a:p>
          <a:p>
            <a:pPr lvl="1"/>
            <a:r>
              <a:rPr lang="en-US" dirty="0">
                <a:solidFill>
                  <a:srgbClr val="FF0000"/>
                </a:solidFill>
              </a:rPr>
              <a:t>What is the difference between inverse BEM and NAH? The later one also used the free field green’s function, so should I consider the Inverse BEM to be a complex form of NAH?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77186101-F1CE-0F66-C283-C1010D145B96}"/>
              </a:ext>
            </a:extLst>
          </p:cNvPr>
          <p:cNvSpPr/>
          <p:nvPr/>
        </p:nvSpPr>
        <p:spPr>
          <a:xfrm>
            <a:off x="3057683" y="2010600"/>
            <a:ext cx="6160995" cy="2410324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EB0FD59-A742-DD20-4E3B-B0660A3857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982661" y="2500556"/>
            <a:ext cx="3771083" cy="285542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B10C9B52-E05C-5CD7-ADAA-3AFB21476A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982661" y="5225391"/>
            <a:ext cx="3771083" cy="281652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AFD64D1-0053-CE7C-FB79-F6F091B4757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19797" y="2318053"/>
            <a:ext cx="5436766" cy="2083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66397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>
                <a:solidFill>
                  <a:srgbClr val="8500EA"/>
                </a:solidFill>
              </a:defRPr>
            </a:pPr>
            <a:r>
              <a:rPr lang="en-US" dirty="0"/>
              <a:t>Deconvolution Beamforming, PS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irect solving with Non-zero assumption, shift-invariant Point Spread Function</a:t>
            </a:r>
          </a:p>
          <a:p>
            <a:endParaRPr lang="en-US" dirty="0"/>
          </a:p>
          <a:p>
            <a:endParaRPr dirty="0"/>
          </a:p>
        </p:txBody>
      </p:sp>
      <p:pic>
        <p:nvPicPr>
          <p:cNvPr id="4" name="Picture Placeholder 3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447927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8500EA"/>
                </a:solidFill>
              </a:defRPr>
            </a:pPr>
            <a:r>
              <a:rPr lang="da-DK" dirty="0" err="1"/>
              <a:t>Questions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How to </a:t>
            </a:r>
            <a:r>
              <a:rPr lang="da-DK" dirty="0" err="1"/>
              <a:t>verify</a:t>
            </a:r>
            <a:r>
              <a:rPr lang="da-DK" dirty="0"/>
              <a:t> the </a:t>
            </a:r>
            <a:r>
              <a:rPr lang="en-US" dirty="0"/>
              <a:t>Reconstruction</a:t>
            </a:r>
            <a:r>
              <a:rPr lang="da-DK" dirty="0"/>
              <a:t> </a:t>
            </a:r>
            <a:r>
              <a:rPr lang="da-DK" dirty="0" err="1"/>
              <a:t>results</a:t>
            </a:r>
            <a:r>
              <a:rPr lang="en-US" dirty="0"/>
              <a:t>?</a:t>
            </a:r>
            <a:r>
              <a:rPr lang="zh-CN" altLang="en-US" dirty="0"/>
              <a:t> </a:t>
            </a:r>
            <a:r>
              <a:rPr lang="en-US" altLang="zh-CN" dirty="0"/>
              <a:t>= the way we get the </a:t>
            </a:r>
            <a:r>
              <a:rPr lang="en-US" altLang="zh-CN" dirty="0" err="1"/>
              <a:t>groundtruth</a:t>
            </a:r>
            <a:endParaRPr lang="en-US" altLang="zh-CN" dirty="0"/>
          </a:p>
          <a:p>
            <a:endParaRPr lang="en-US" dirty="0"/>
          </a:p>
          <a:p>
            <a:r>
              <a:rPr lang="en-US" dirty="0"/>
              <a:t>With the microphone arc, we can have the sound intensity and get rid of noise?</a:t>
            </a:r>
            <a:endParaRPr lang="da-DK" dirty="0"/>
          </a:p>
          <a:p>
            <a:endParaRPr dirty="0"/>
          </a:p>
        </p:txBody>
      </p:sp>
      <p:pic>
        <p:nvPicPr>
          <p:cNvPr id="4" name="Picture Placeholder 3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6252407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8500EA"/>
                </a:solidFill>
              </a:defRPr>
            </a:pPr>
            <a:r>
              <a:t>Main Idea of WBH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t>Iteratively suppress ghost sources associated with real sources.</a:t>
            </a:r>
          </a:p>
          <a:p>
            <a:r>
              <a:t>Starts with the strongest real sources.</a:t>
            </a:r>
          </a:p>
          <a:p>
            <a:r>
              <a:t>Uses steepest descent iteration to minimize the quadratic residual function.</a:t>
            </a:r>
          </a:p>
        </p:txBody>
      </p:sp>
      <p:pic>
        <p:nvPicPr>
          <p:cNvPr id="4" name="Picture Placeholder 3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8500EA"/>
                </a:solidFill>
              </a:defRPr>
            </a:pPr>
            <a:r>
              <a:t>Mathematical Formula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t>Residual Vector: r(q) = p - Aq</a:t>
            </a:r>
          </a:p>
          <a:p>
            <a:r>
              <a:t>Quadratic Residual Function: F(q) = 0.5 ||p - Aq||^2</a:t>
            </a:r>
          </a:p>
          <a:p>
            <a:r>
              <a:t>Gradient Vector: ∇F(q) = A^H (p - Aq)</a:t>
            </a:r>
          </a:p>
        </p:txBody>
      </p:sp>
      <p:pic>
        <p:nvPicPr>
          <p:cNvPr id="4" name="Picture Placeholder 3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mart Slides v1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8500EA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47</Words>
  <Application>Microsoft Office PowerPoint</Application>
  <PresentationFormat>Custom</PresentationFormat>
  <Paragraphs>99</Paragraphs>
  <Slides>1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0" baseType="lpstr">
      <vt:lpstr>Calibri</vt:lpstr>
      <vt:lpstr>Arial</vt:lpstr>
      <vt:lpstr>Roboto Light</vt:lpstr>
      <vt:lpstr>Smart Slides v1</vt:lpstr>
      <vt:lpstr>think-cell Slide</vt:lpstr>
      <vt:lpstr>Smart Slides</vt:lpstr>
      <vt:lpstr>Azure Kinect: Depth camera Resolution</vt:lpstr>
      <vt:lpstr>Delay And Sum: Traditional Beamforming</vt:lpstr>
      <vt:lpstr>Compressive Sensing: First half, ACQUISITION</vt:lpstr>
      <vt:lpstr>Compressive Sensing: Second half, Reconstruction</vt:lpstr>
      <vt:lpstr>Deconvolution Beamforming, PSF</vt:lpstr>
      <vt:lpstr>Questions</vt:lpstr>
      <vt:lpstr>Main Idea of WBH</vt:lpstr>
      <vt:lpstr>Mathematical Formulation</vt:lpstr>
      <vt:lpstr>Dynamic Range Limitation</vt:lpstr>
      <vt:lpstr>Comparison with Convex Optimization</vt:lpstr>
      <vt:lpstr>Python Implementation of WBH</vt:lpstr>
      <vt:lpstr>Code Snippet</vt:lpstr>
      <vt:lpstr>Conclusion</vt:lpstr>
      <vt:lpstr>Custom Layou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mart Slides</dc:title>
  <cp:lastModifiedBy>Zhengmeng Li</cp:lastModifiedBy>
  <cp:revision>35</cp:revision>
  <dcterms:modified xsi:type="dcterms:W3CDTF">2023-10-05T15:14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208be00-d674-40fd-8399-cd3587f85bc0_Enabled">
    <vt:lpwstr>true</vt:lpwstr>
  </property>
  <property fmtid="{D5CDD505-2E9C-101B-9397-08002B2CF9AE}" pid="3" name="MSIP_Label_9208be00-d674-40fd-8399-cd3587f85bc0_SetDate">
    <vt:lpwstr>2023-09-25T19:14:20Z</vt:lpwstr>
  </property>
  <property fmtid="{D5CDD505-2E9C-101B-9397-08002B2CF9AE}" pid="4" name="MSIP_Label_9208be00-d674-40fd-8399-cd3587f85bc0_Method">
    <vt:lpwstr>Privileged</vt:lpwstr>
  </property>
  <property fmtid="{D5CDD505-2E9C-101B-9397-08002B2CF9AE}" pid="5" name="MSIP_Label_9208be00-d674-40fd-8399-cd3587f85bc0_Name">
    <vt:lpwstr>Unrestricted</vt:lpwstr>
  </property>
  <property fmtid="{D5CDD505-2E9C-101B-9397-08002B2CF9AE}" pid="6" name="MSIP_Label_9208be00-d674-40fd-8399-cd3587f85bc0_SiteId">
    <vt:lpwstr>6cce74a3-3975-45e0-9893-b072988b30b6</vt:lpwstr>
  </property>
  <property fmtid="{D5CDD505-2E9C-101B-9397-08002B2CF9AE}" pid="7" name="MSIP_Label_9208be00-d674-40fd-8399-cd3587f85bc0_ActionId">
    <vt:lpwstr>c9548c01-cc3c-45bf-8d95-c8e177d0d4d6</vt:lpwstr>
  </property>
  <property fmtid="{D5CDD505-2E9C-101B-9397-08002B2CF9AE}" pid="8" name="MSIP_Label_9208be00-d674-40fd-8399-cd3587f85bc0_ContentBits">
    <vt:lpwstr>2</vt:lpwstr>
  </property>
  <property fmtid="{D5CDD505-2E9C-101B-9397-08002B2CF9AE}" pid="9" name="ClassificationContentMarkingFooterLocations">
    <vt:lpwstr>Smart Slides v1:4</vt:lpwstr>
  </property>
  <property fmtid="{D5CDD505-2E9C-101B-9397-08002B2CF9AE}" pid="10" name="ClassificationContentMarkingFooterText">
    <vt:lpwstr>UNRESTRICTED</vt:lpwstr>
  </property>
</Properties>
</file>